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13" r:id="rId4"/>
  </p:sldMasterIdLst>
  <p:notesMasterIdLst>
    <p:notesMasterId r:id="rId13"/>
  </p:notesMasterIdLst>
  <p:handoutMasterIdLst>
    <p:handoutMasterId r:id="rId14"/>
  </p:handoutMasterIdLst>
  <p:sldIdLst>
    <p:sldId id="256" r:id="rId5"/>
    <p:sldId id="257" r:id="rId6"/>
    <p:sldId id="258" r:id="rId7"/>
    <p:sldId id="259" r:id="rId8"/>
    <p:sldId id="260" r:id="rId9"/>
    <p:sldId id="261" r:id="rId10"/>
    <p:sldId id="262" r:id="rId11"/>
    <p:sldId id="263" r:id="rId12"/>
  </p:sldIdLst>
  <p:sldSz cx="9906000" cy="6858000" type="A4"/>
  <p:notesSz cx="6797675" cy="9872663"/>
  <p:custDataLst>
    <p:tags r:id="rId15"/>
  </p:custDataLst>
  <p:defaultTextStyle>
    <a:defPPr>
      <a:defRPr lang="ca-ES"/>
    </a:defPPr>
    <a:lvl1pPr algn="l" rtl="0" fontAlgn="base">
      <a:spcBef>
        <a:spcPct val="50000"/>
      </a:spcBef>
      <a:spcAft>
        <a:spcPct val="0"/>
      </a:spcAft>
      <a:defRPr sz="22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sz="22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sz="22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sz="22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sz="22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22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22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22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22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1158" userDrawn="1">
          <p15:clr>
            <a:srgbClr val="A4A3A4"/>
          </p15:clr>
        </p15:guide>
        <p15:guide id="4" pos="6020">
          <p15:clr>
            <a:srgbClr val="A4A3A4"/>
          </p15:clr>
        </p15:guide>
        <p15:guide id="6" pos="512" userDrawn="1">
          <p15:clr>
            <a:srgbClr val="A4A3A4"/>
          </p15:clr>
        </p15:guide>
        <p15:guide id="7" orient="horz">
          <p15:clr>
            <a:srgbClr val="A4A3A4"/>
          </p15:clr>
        </p15:guide>
        <p15:guide id="8" orient="horz" pos="3884" userDrawn="1">
          <p15:clr>
            <a:srgbClr val="A4A3A4"/>
          </p15:clr>
        </p15:guide>
        <p15:guide id="9" orient="horz" pos="4247" userDrawn="1">
          <p15:clr>
            <a:srgbClr val="A4A3A4"/>
          </p15:clr>
        </p15:guide>
        <p15:guide id="10" pos="1038">
          <p15:clr>
            <a:srgbClr val="A4A3A4"/>
          </p15:clr>
        </p15:guide>
        <p15:guide id="11" pos="3755" userDrawn="1">
          <p15:clr>
            <a:srgbClr val="A4A3A4"/>
          </p15:clr>
        </p15:guide>
        <p15:guide id="12" pos="3852" userDrawn="1">
          <p15:clr>
            <a:srgbClr val="A4A3A4"/>
          </p15:clr>
        </p15:guide>
        <p15:guide id="13" pos="4889" userDrawn="1">
          <p15:clr>
            <a:srgbClr val="A4A3A4"/>
          </p15:clr>
        </p15:guide>
        <p15:guide id="14" pos="4998" userDrawn="1">
          <p15:clr>
            <a:srgbClr val="A4A3A4"/>
          </p15:clr>
        </p15:guide>
        <p15:guide id="15" orient="horz" pos="323" userDrawn="1">
          <p15:clr>
            <a:srgbClr val="A4A3A4"/>
          </p15:clr>
        </p15:guide>
        <p15:guide id="16" pos="240" userDrawn="1">
          <p15:clr>
            <a:srgbClr val="A4A3A4"/>
          </p15:clr>
        </p15:guide>
        <p15:guide id="17" userDrawn="1">
          <p15:clr>
            <a:srgbClr val="A4A3A4"/>
          </p15:clr>
        </p15:guide>
        <p15:guide id="18" orient="horz" pos="753">
          <p15:clr>
            <a:srgbClr val="A4A3A4"/>
          </p15:clr>
        </p15:guide>
        <p15:guide id="19" pos="3643">
          <p15:clr>
            <a:srgbClr val="A4A3A4"/>
          </p15:clr>
        </p15:guide>
        <p15:guide id="20" pos="3691">
          <p15:clr>
            <a:srgbClr val="A4A3A4"/>
          </p15:clr>
        </p15:guide>
        <p15:guide id="21" pos="5114">
          <p15:clr>
            <a:srgbClr val="A4A3A4"/>
          </p15:clr>
        </p15:guide>
        <p15:guide id="22" orient="horz" pos="1026" userDrawn="1">
          <p15:clr>
            <a:srgbClr val="A4A3A4"/>
          </p15:clr>
        </p15:guide>
        <p15:guide id="23" orient="horz" pos="572">
          <p15:clr>
            <a:srgbClr val="A4A3A4"/>
          </p15:clr>
        </p15:guide>
        <p15:guide id="24" orient="horz" pos="74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ergio Aguilar Sanchez" initials="SAS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66FF"/>
    <a:srgbClr val="FFDF7F"/>
    <a:srgbClr val="C47F96"/>
    <a:srgbClr val="8E9FDA"/>
    <a:srgbClr val="006600"/>
    <a:srgbClr val="C1272D"/>
    <a:srgbClr val="DC5D26"/>
    <a:srgbClr val="F7931E"/>
    <a:srgbClr val="8DA449"/>
    <a:srgbClr val="22B57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AC4B4EB-F1B9-5AAE-078F-943EDF0BDFE7}" v="30" dt="2023-08-10T06:31:17.40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Estilo medio 2 - Énfasis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0A1B5D5-9B99-4C35-A422-299274C87663}" styleName="Estilo medio 1 - Énfasis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DCAF9ED-07DC-4A11-8D7F-57B35C25682E}" styleName="Estilo medio 1 - Énfasis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301B821-A1FF-4177-AEE7-76D212191A09}" styleName="Estilo medio 1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84E427A-3D55-4303-BF80-6455036E1DE7}" styleName="Estilo temático 1 - Énfasis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18603FDC-E32A-4AB5-989C-0864C3EAD2B8}" styleName="Estilo temático 2 - Énfasis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Estilo temático 2 - Énfasis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113A9D2-9D6B-4929-AA2D-F23B5EE8CBE7}" styleName="Estilo temático 2 - Énfasis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344" autoAdjust="0"/>
    <p:restoredTop sz="94434" autoAdjust="0"/>
  </p:normalViewPr>
  <p:slideViewPr>
    <p:cSldViewPr snapToGrid="0" snapToObjects="1">
      <p:cViewPr varScale="1">
        <p:scale>
          <a:sx n="112" d="100"/>
          <a:sy n="112" d="100"/>
        </p:scale>
        <p:origin x="1080" y="102"/>
      </p:cViewPr>
      <p:guideLst>
        <p:guide pos="1158"/>
        <p:guide pos="6020"/>
        <p:guide pos="512"/>
        <p:guide orient="horz"/>
        <p:guide orient="horz" pos="3884"/>
        <p:guide orient="horz" pos="4247"/>
        <p:guide pos="1038"/>
        <p:guide pos="3755"/>
        <p:guide pos="3852"/>
        <p:guide pos="4889"/>
        <p:guide pos="4998"/>
        <p:guide orient="horz" pos="323"/>
        <p:guide pos="240"/>
        <p:guide/>
        <p:guide orient="horz" pos="753"/>
        <p:guide pos="3643"/>
        <p:guide pos="3691"/>
        <p:guide pos="5114"/>
        <p:guide orient="horz" pos="1026"/>
        <p:guide orient="horz" pos="572"/>
        <p:guide orient="horz" pos="74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2532"/>
    </p:cViewPr>
  </p:sorterViewPr>
  <p:notesViewPr>
    <p:cSldViewPr snapToGrid="0" snapToObject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TEO  RUIZ, KEYLAN" userId="S::keylanmateo_ext@gencat.cat::8e521b25-2beb-47e4-b6bc-ed87ad71707e" providerId="AD" clId="Web-{9AC4B4EB-F1B9-5AAE-078F-943EDF0BDFE7}"/>
    <pc:docChg chg="modSld">
      <pc:chgData name="MATEO  RUIZ, KEYLAN" userId="S::keylanmateo_ext@gencat.cat::8e521b25-2beb-47e4-b6bc-ed87ad71707e" providerId="AD" clId="Web-{9AC4B4EB-F1B9-5AAE-078F-943EDF0BDFE7}" dt="2023-08-10T06:31:17.401" v="29"/>
      <pc:docMkLst>
        <pc:docMk/>
      </pc:docMkLst>
      <pc:sldChg chg="addSp modSp">
        <pc:chgData name="MATEO  RUIZ, KEYLAN" userId="S::keylanmateo_ext@gencat.cat::8e521b25-2beb-47e4-b6bc-ed87ad71707e" providerId="AD" clId="Web-{9AC4B4EB-F1B9-5AAE-078F-943EDF0BDFE7}" dt="2023-08-10T06:29:11.241" v="3" actId="1076"/>
        <pc:sldMkLst>
          <pc:docMk/>
          <pc:sldMk cId="2633259805" sldId="256"/>
        </pc:sldMkLst>
        <pc:picChg chg="add mod">
          <ac:chgData name="MATEO  RUIZ, KEYLAN" userId="S::keylanmateo_ext@gencat.cat::8e521b25-2beb-47e4-b6bc-ed87ad71707e" providerId="AD" clId="Web-{9AC4B4EB-F1B9-5AAE-078F-943EDF0BDFE7}" dt="2023-08-10T06:29:11.241" v="3" actId="1076"/>
          <ac:picMkLst>
            <pc:docMk/>
            <pc:sldMk cId="2633259805" sldId="256"/>
            <ac:picMk id="3" creationId="{734E6FDF-905F-495E-7A64-C10C95583F2A}"/>
          </ac:picMkLst>
        </pc:picChg>
      </pc:sldChg>
      <pc:sldChg chg="addSp">
        <pc:chgData name="MATEO  RUIZ, KEYLAN" userId="S::keylanmateo_ext@gencat.cat::8e521b25-2beb-47e4-b6bc-ed87ad71707e" providerId="AD" clId="Web-{9AC4B4EB-F1B9-5AAE-078F-943EDF0BDFE7}" dt="2023-08-10T06:29:14.084" v="4"/>
        <pc:sldMkLst>
          <pc:docMk/>
          <pc:sldMk cId="3048543446" sldId="257"/>
        </pc:sldMkLst>
        <pc:picChg chg="add">
          <ac:chgData name="MATEO  RUIZ, KEYLAN" userId="S::keylanmateo_ext@gencat.cat::8e521b25-2beb-47e4-b6bc-ed87ad71707e" providerId="AD" clId="Web-{9AC4B4EB-F1B9-5AAE-078F-943EDF0BDFE7}" dt="2023-08-10T06:29:14.084" v="4"/>
          <ac:picMkLst>
            <pc:docMk/>
            <pc:sldMk cId="3048543446" sldId="257"/>
            <ac:picMk id="6" creationId="{C56EECEE-D39A-BEC5-DA1B-9FE3299D76C9}"/>
          </ac:picMkLst>
        </pc:picChg>
      </pc:sldChg>
      <pc:sldChg chg="addSp">
        <pc:chgData name="MATEO  RUIZ, KEYLAN" userId="S::keylanmateo_ext@gencat.cat::8e521b25-2beb-47e4-b6bc-ed87ad71707e" providerId="AD" clId="Web-{9AC4B4EB-F1B9-5AAE-078F-943EDF0BDFE7}" dt="2023-08-10T06:29:15.960" v="5"/>
        <pc:sldMkLst>
          <pc:docMk/>
          <pc:sldMk cId="274996699" sldId="258"/>
        </pc:sldMkLst>
        <pc:picChg chg="add">
          <ac:chgData name="MATEO  RUIZ, KEYLAN" userId="S::keylanmateo_ext@gencat.cat::8e521b25-2beb-47e4-b6bc-ed87ad71707e" providerId="AD" clId="Web-{9AC4B4EB-F1B9-5AAE-078F-943EDF0BDFE7}" dt="2023-08-10T06:29:15.960" v="5"/>
          <ac:picMkLst>
            <pc:docMk/>
            <pc:sldMk cId="274996699" sldId="258"/>
            <ac:picMk id="12" creationId="{50907D57-5986-D29B-47E9-D335EA3BA1D7}"/>
          </ac:picMkLst>
        </pc:picChg>
      </pc:sldChg>
      <pc:sldChg chg="addSp modSp">
        <pc:chgData name="MATEO  RUIZ, KEYLAN" userId="S::keylanmateo_ext@gencat.cat::8e521b25-2beb-47e4-b6bc-ed87ad71707e" providerId="AD" clId="Web-{9AC4B4EB-F1B9-5AAE-078F-943EDF0BDFE7}" dt="2023-08-10T06:30:00.602" v="12" actId="1076"/>
        <pc:sldMkLst>
          <pc:docMk/>
          <pc:sldMk cId="702902965" sldId="259"/>
        </pc:sldMkLst>
        <pc:spChg chg="mod">
          <ac:chgData name="MATEO  RUIZ, KEYLAN" userId="S::keylanmateo_ext@gencat.cat::8e521b25-2beb-47e4-b6bc-ed87ad71707e" providerId="AD" clId="Web-{9AC4B4EB-F1B9-5AAE-078F-943EDF0BDFE7}" dt="2023-08-10T06:29:53.961" v="10" actId="1076"/>
          <ac:spMkLst>
            <pc:docMk/>
            <pc:sldMk cId="702902965" sldId="259"/>
            <ac:spMk id="66" creationId="{00000000-0000-0000-0000-000000000000}"/>
          </ac:spMkLst>
        </pc:spChg>
        <pc:picChg chg="add mod">
          <ac:chgData name="MATEO  RUIZ, KEYLAN" userId="S::keylanmateo_ext@gencat.cat::8e521b25-2beb-47e4-b6bc-ed87ad71707e" providerId="AD" clId="Web-{9AC4B4EB-F1B9-5AAE-078F-943EDF0BDFE7}" dt="2023-08-10T06:30:00.602" v="12" actId="1076"/>
          <ac:picMkLst>
            <pc:docMk/>
            <pc:sldMk cId="702902965" sldId="259"/>
            <ac:picMk id="4" creationId="{ADE94FEC-8555-6888-EDAF-2DE757666516}"/>
          </ac:picMkLst>
        </pc:picChg>
        <pc:picChg chg="mod">
          <ac:chgData name="MATEO  RUIZ, KEYLAN" userId="S::keylanmateo_ext@gencat.cat::8e521b25-2beb-47e4-b6bc-ed87ad71707e" providerId="AD" clId="Web-{9AC4B4EB-F1B9-5AAE-078F-943EDF0BDFE7}" dt="2023-08-10T06:29:54.054" v="11" actId="1076"/>
          <ac:picMkLst>
            <pc:docMk/>
            <pc:sldMk cId="702902965" sldId="259"/>
            <ac:picMk id="6" creationId="{00000000-0000-0000-0000-000000000000}"/>
          </ac:picMkLst>
        </pc:picChg>
      </pc:sldChg>
      <pc:sldChg chg="addSp modSp">
        <pc:chgData name="MATEO  RUIZ, KEYLAN" userId="S::keylanmateo_ext@gencat.cat::8e521b25-2beb-47e4-b6bc-ed87ad71707e" providerId="AD" clId="Web-{9AC4B4EB-F1B9-5AAE-078F-943EDF0BDFE7}" dt="2023-08-10T06:31:03.213" v="25" actId="1076"/>
        <pc:sldMkLst>
          <pc:docMk/>
          <pc:sldMk cId="4078913460" sldId="260"/>
        </pc:sldMkLst>
        <pc:spChg chg="mod">
          <ac:chgData name="MATEO  RUIZ, KEYLAN" userId="S::keylanmateo_ext@gencat.cat::8e521b25-2beb-47e4-b6bc-ed87ad71707e" providerId="AD" clId="Web-{9AC4B4EB-F1B9-5AAE-078F-943EDF0BDFE7}" dt="2023-08-10T06:31:03.213" v="25" actId="1076"/>
          <ac:spMkLst>
            <pc:docMk/>
            <pc:sldMk cId="4078913460" sldId="260"/>
            <ac:spMk id="4" creationId="{00000000-0000-0000-0000-000000000000}"/>
          </ac:spMkLst>
        </pc:spChg>
        <pc:spChg chg="mod">
          <ac:chgData name="MATEO  RUIZ, KEYLAN" userId="S::keylanmateo_ext@gencat.cat::8e521b25-2beb-47e4-b6bc-ed87ad71707e" providerId="AD" clId="Web-{9AC4B4EB-F1B9-5AAE-078F-943EDF0BDFE7}" dt="2023-08-10T06:30:12.836" v="14" actId="1076"/>
          <ac:spMkLst>
            <pc:docMk/>
            <pc:sldMk cId="4078913460" sldId="260"/>
            <ac:spMk id="66" creationId="{00000000-0000-0000-0000-000000000000}"/>
          </ac:spMkLst>
        </pc:spChg>
        <pc:picChg chg="mod">
          <ac:chgData name="MATEO  RUIZ, KEYLAN" userId="S::keylanmateo_ext@gencat.cat::8e521b25-2beb-47e4-b6bc-ed87ad71707e" providerId="AD" clId="Web-{9AC4B4EB-F1B9-5AAE-078F-943EDF0BDFE7}" dt="2023-08-10T06:30:37.040" v="20" actId="1076"/>
          <ac:picMkLst>
            <pc:docMk/>
            <pc:sldMk cId="4078913460" sldId="260"/>
            <ac:picMk id="2" creationId="{00000000-0000-0000-0000-000000000000}"/>
          </ac:picMkLst>
        </pc:picChg>
        <pc:picChg chg="mod">
          <ac:chgData name="MATEO  RUIZ, KEYLAN" userId="S::keylanmateo_ext@gencat.cat::8e521b25-2beb-47e4-b6bc-ed87ad71707e" providerId="AD" clId="Web-{9AC4B4EB-F1B9-5AAE-078F-943EDF0BDFE7}" dt="2023-08-10T06:30:57.822" v="24" actId="1076"/>
          <ac:picMkLst>
            <pc:docMk/>
            <pc:sldMk cId="4078913460" sldId="260"/>
            <ac:picMk id="5" creationId="{00000000-0000-0000-0000-000000000000}"/>
          </ac:picMkLst>
        </pc:picChg>
        <pc:picChg chg="add mod">
          <ac:chgData name="MATEO  RUIZ, KEYLAN" userId="S::keylanmateo_ext@gencat.cat::8e521b25-2beb-47e4-b6bc-ed87ad71707e" providerId="AD" clId="Web-{9AC4B4EB-F1B9-5AAE-078F-943EDF0BDFE7}" dt="2023-08-10T06:30:24.852" v="17" actId="1076"/>
          <ac:picMkLst>
            <pc:docMk/>
            <pc:sldMk cId="4078913460" sldId="260"/>
            <ac:picMk id="7" creationId="{50F6ECC2-1B4E-2BA4-E253-A44BFBCC4866}"/>
          </ac:picMkLst>
        </pc:picChg>
        <pc:picChg chg="mod">
          <ac:chgData name="MATEO  RUIZ, KEYLAN" userId="S::keylanmateo_ext@gencat.cat::8e521b25-2beb-47e4-b6bc-ed87ad71707e" providerId="AD" clId="Web-{9AC4B4EB-F1B9-5AAE-078F-943EDF0BDFE7}" dt="2023-08-10T06:30:42.697" v="22" actId="1076"/>
          <ac:picMkLst>
            <pc:docMk/>
            <pc:sldMk cId="4078913460" sldId="260"/>
            <ac:picMk id="20" creationId="{00000000-0000-0000-0000-000000000000}"/>
          </ac:picMkLst>
        </pc:picChg>
      </pc:sldChg>
      <pc:sldChg chg="addSp modSp">
        <pc:chgData name="MATEO  RUIZ, KEYLAN" userId="S::keylanmateo_ext@gencat.cat::8e521b25-2beb-47e4-b6bc-ed87ad71707e" providerId="AD" clId="Web-{9AC4B4EB-F1B9-5AAE-078F-943EDF0BDFE7}" dt="2023-08-10T06:31:13.932" v="27" actId="1076"/>
        <pc:sldMkLst>
          <pc:docMk/>
          <pc:sldMk cId="1833726626" sldId="261"/>
        </pc:sldMkLst>
        <pc:picChg chg="add mod">
          <ac:chgData name="MATEO  RUIZ, KEYLAN" userId="S::keylanmateo_ext@gencat.cat::8e521b25-2beb-47e4-b6bc-ed87ad71707e" providerId="AD" clId="Web-{9AC4B4EB-F1B9-5AAE-078F-943EDF0BDFE7}" dt="2023-08-10T06:31:13.932" v="27" actId="1076"/>
          <ac:picMkLst>
            <pc:docMk/>
            <pc:sldMk cId="1833726626" sldId="261"/>
            <ac:picMk id="4" creationId="{6FDD2255-C5F5-37AC-F9D6-2F777885DAE7}"/>
          </ac:picMkLst>
        </pc:picChg>
      </pc:sldChg>
      <pc:sldChg chg="addSp">
        <pc:chgData name="MATEO  RUIZ, KEYLAN" userId="S::keylanmateo_ext@gencat.cat::8e521b25-2beb-47e4-b6bc-ed87ad71707e" providerId="AD" clId="Web-{9AC4B4EB-F1B9-5AAE-078F-943EDF0BDFE7}" dt="2023-08-10T06:31:15.354" v="28"/>
        <pc:sldMkLst>
          <pc:docMk/>
          <pc:sldMk cId="3375558599" sldId="262"/>
        </pc:sldMkLst>
        <pc:picChg chg="add">
          <ac:chgData name="MATEO  RUIZ, KEYLAN" userId="S::keylanmateo_ext@gencat.cat::8e521b25-2beb-47e4-b6bc-ed87ad71707e" providerId="AD" clId="Web-{9AC4B4EB-F1B9-5AAE-078F-943EDF0BDFE7}" dt="2023-08-10T06:31:15.354" v="28"/>
          <ac:picMkLst>
            <pc:docMk/>
            <pc:sldMk cId="3375558599" sldId="262"/>
            <ac:picMk id="5" creationId="{E165C649-B23B-5B2C-7403-23AE352A62E7}"/>
          </ac:picMkLst>
        </pc:picChg>
      </pc:sldChg>
      <pc:sldChg chg="addSp">
        <pc:chgData name="MATEO  RUIZ, KEYLAN" userId="S::keylanmateo_ext@gencat.cat::8e521b25-2beb-47e4-b6bc-ed87ad71707e" providerId="AD" clId="Web-{9AC4B4EB-F1B9-5AAE-078F-943EDF0BDFE7}" dt="2023-08-10T06:31:17.401" v="29"/>
        <pc:sldMkLst>
          <pc:docMk/>
          <pc:sldMk cId="3066201815" sldId="263"/>
        </pc:sldMkLst>
        <pc:picChg chg="add">
          <ac:chgData name="MATEO  RUIZ, KEYLAN" userId="S::keylanmateo_ext@gencat.cat::8e521b25-2beb-47e4-b6bc-ed87ad71707e" providerId="AD" clId="Web-{9AC4B4EB-F1B9-5AAE-078F-943EDF0BDFE7}" dt="2023-08-10T06:31:17.401" v="29"/>
          <ac:picMkLst>
            <pc:docMk/>
            <pc:sldMk cId="3066201815" sldId="263"/>
            <ac:picMk id="3" creationId="{8808FC30-6BC8-90D5-9296-26EB45E592B5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D800083-7FB8-4174-B388-01F8EA834CDF}" type="doc">
      <dgm:prSet loTypeId="urn:microsoft.com/office/officeart/2005/8/layout/chevron1" loCatId="process" qsTypeId="urn:microsoft.com/office/officeart/2005/8/quickstyle/simple3" qsCatId="simple" csTypeId="urn:microsoft.com/office/officeart/2005/8/colors/accent2_5" csCatId="accent2" phldr="1"/>
      <dgm:spPr/>
    </dgm:pt>
    <dgm:pt modelId="{8989CF19-872E-4FF0-8782-ED4166859FD7}">
      <dgm:prSet phldrT="[Texto]" custT="1"/>
      <dgm:spPr/>
      <dgm:t>
        <a:bodyPr/>
        <a:lstStyle/>
        <a:p>
          <a:r>
            <a:rPr lang="ca-ES" sz="1500" noProof="0" dirty="0"/>
            <a:t>Entrevista preliminar</a:t>
          </a:r>
        </a:p>
      </dgm:t>
    </dgm:pt>
    <dgm:pt modelId="{21368A4A-95F6-4222-948C-E69C65BF6CE6}" type="parTrans" cxnId="{0C0F0CC7-839C-40EC-8B4F-FB236ACABD67}">
      <dgm:prSet/>
      <dgm:spPr/>
      <dgm:t>
        <a:bodyPr/>
        <a:lstStyle/>
        <a:p>
          <a:endParaRPr lang="ca-ES" sz="1500" noProof="0" dirty="0"/>
        </a:p>
      </dgm:t>
    </dgm:pt>
    <dgm:pt modelId="{0AFF435B-6708-46E2-A27A-329E70FC5378}" type="sibTrans" cxnId="{0C0F0CC7-839C-40EC-8B4F-FB236ACABD67}">
      <dgm:prSet/>
      <dgm:spPr/>
      <dgm:t>
        <a:bodyPr/>
        <a:lstStyle/>
        <a:p>
          <a:endParaRPr lang="ca-ES" sz="1500" noProof="0" dirty="0"/>
        </a:p>
      </dgm:t>
    </dgm:pt>
    <dgm:pt modelId="{7E075C96-A700-486B-9DAA-BEEFC5C02A84}">
      <dgm:prSet phldrT="[Texto]" custT="1"/>
      <dgm:spPr/>
      <dgm:t>
        <a:bodyPr/>
        <a:lstStyle/>
        <a:p>
          <a:r>
            <a:rPr lang="ca-ES" sz="1500" noProof="0" dirty="0"/>
            <a:t>Conclusions</a:t>
          </a:r>
        </a:p>
      </dgm:t>
    </dgm:pt>
    <dgm:pt modelId="{D14BAD42-55FA-45E6-8156-91B8F210599C}" type="parTrans" cxnId="{DF5E02EC-C265-4E1D-85FA-0B60BBEFBEE5}">
      <dgm:prSet/>
      <dgm:spPr/>
      <dgm:t>
        <a:bodyPr/>
        <a:lstStyle/>
        <a:p>
          <a:endParaRPr lang="ca-ES" sz="1500" noProof="0" dirty="0"/>
        </a:p>
      </dgm:t>
    </dgm:pt>
    <dgm:pt modelId="{2BB7F0C4-72BB-4EB6-8615-2DF040D60AE9}" type="sibTrans" cxnId="{DF5E02EC-C265-4E1D-85FA-0B60BBEFBEE5}">
      <dgm:prSet/>
      <dgm:spPr/>
      <dgm:t>
        <a:bodyPr/>
        <a:lstStyle/>
        <a:p>
          <a:endParaRPr lang="ca-ES" sz="1500" noProof="0" dirty="0"/>
        </a:p>
      </dgm:t>
    </dgm:pt>
    <dgm:pt modelId="{D23A8B07-3626-429B-BD7A-9212261867B9}">
      <dgm:prSet phldrT="[Texto]" custT="1"/>
      <dgm:spPr/>
      <dgm:t>
        <a:bodyPr/>
        <a:lstStyle/>
        <a:p>
          <a:r>
            <a:rPr lang="ca-ES" sz="1500" noProof="0" dirty="0"/>
            <a:t>Anàlisi de la informació</a:t>
          </a:r>
        </a:p>
      </dgm:t>
    </dgm:pt>
    <dgm:pt modelId="{53CD30F4-CA6B-47C5-ADC8-51D00E5CDAC4}" type="parTrans" cxnId="{DD734A13-4C31-4159-9ABE-2169749597D4}">
      <dgm:prSet/>
      <dgm:spPr/>
      <dgm:t>
        <a:bodyPr/>
        <a:lstStyle/>
        <a:p>
          <a:endParaRPr lang="ca-ES" sz="1500" noProof="0" dirty="0"/>
        </a:p>
      </dgm:t>
    </dgm:pt>
    <dgm:pt modelId="{0B805177-1389-4482-A17C-8F9E6E52449D}" type="sibTrans" cxnId="{DD734A13-4C31-4159-9ABE-2169749597D4}">
      <dgm:prSet/>
      <dgm:spPr/>
      <dgm:t>
        <a:bodyPr/>
        <a:lstStyle/>
        <a:p>
          <a:endParaRPr lang="ca-ES" sz="1500" noProof="0" dirty="0"/>
        </a:p>
      </dgm:t>
    </dgm:pt>
    <dgm:pt modelId="{7F23B36E-B15B-486F-A5F3-9B0F750B8551}">
      <dgm:prSet phldrT="[Texto]" custT="1"/>
      <dgm:spPr/>
      <dgm:t>
        <a:bodyPr/>
        <a:lstStyle/>
        <a:p>
          <a:r>
            <a:rPr lang="ca-ES" sz="1500" noProof="0" dirty="0"/>
            <a:t>Recomanacions</a:t>
          </a:r>
        </a:p>
      </dgm:t>
    </dgm:pt>
    <dgm:pt modelId="{4BCDDD55-7D53-46B1-9A68-C3DDC734F128}" type="parTrans" cxnId="{24C1EE27-D208-42AD-A9A5-7AFE5CAC7817}">
      <dgm:prSet/>
      <dgm:spPr/>
      <dgm:t>
        <a:bodyPr/>
        <a:lstStyle/>
        <a:p>
          <a:endParaRPr lang="ca-ES" sz="1500" noProof="0" dirty="0"/>
        </a:p>
      </dgm:t>
    </dgm:pt>
    <dgm:pt modelId="{120E1F3D-AD85-48F6-A7C3-4BCC28A37E2D}" type="sibTrans" cxnId="{24C1EE27-D208-42AD-A9A5-7AFE5CAC7817}">
      <dgm:prSet/>
      <dgm:spPr/>
      <dgm:t>
        <a:bodyPr/>
        <a:lstStyle/>
        <a:p>
          <a:endParaRPr lang="ca-ES" sz="1500" noProof="0" dirty="0"/>
        </a:p>
      </dgm:t>
    </dgm:pt>
    <dgm:pt modelId="{6BA6FDF3-7838-4034-AE18-8ECF2D745879}" type="pres">
      <dgm:prSet presAssocID="{AD800083-7FB8-4174-B388-01F8EA834CDF}" presName="Name0" presStyleCnt="0">
        <dgm:presLayoutVars>
          <dgm:dir/>
          <dgm:animLvl val="lvl"/>
          <dgm:resizeHandles val="exact"/>
        </dgm:presLayoutVars>
      </dgm:prSet>
      <dgm:spPr/>
    </dgm:pt>
    <dgm:pt modelId="{435D247B-06FC-4CEC-9D04-40A99BA1608D}" type="pres">
      <dgm:prSet presAssocID="{8989CF19-872E-4FF0-8782-ED4166859FD7}" presName="parTxOnly" presStyleLbl="node1" presStyleIdx="0" presStyleCnt="4" custLinFactNeighborY="2239">
        <dgm:presLayoutVars>
          <dgm:chMax val="0"/>
          <dgm:chPref val="0"/>
          <dgm:bulletEnabled val="1"/>
        </dgm:presLayoutVars>
      </dgm:prSet>
      <dgm:spPr/>
    </dgm:pt>
    <dgm:pt modelId="{E0049EBD-6F30-442E-B6C7-A4CD4E4D0C7A}" type="pres">
      <dgm:prSet presAssocID="{0AFF435B-6708-46E2-A27A-329E70FC5378}" presName="parTxOnlySpace" presStyleCnt="0"/>
      <dgm:spPr/>
    </dgm:pt>
    <dgm:pt modelId="{03CC7626-DAA5-48B3-91D7-07C76B40599B}" type="pres">
      <dgm:prSet presAssocID="{D23A8B07-3626-429B-BD7A-9212261867B9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C16A8357-AB23-4A7D-BC29-F1F386CABF20}" type="pres">
      <dgm:prSet presAssocID="{0B805177-1389-4482-A17C-8F9E6E52449D}" presName="parTxOnlySpace" presStyleCnt="0"/>
      <dgm:spPr/>
    </dgm:pt>
    <dgm:pt modelId="{E7223948-B3A5-46A6-B059-6B67FF10327A}" type="pres">
      <dgm:prSet presAssocID="{7E075C96-A700-486B-9DAA-BEEFC5C02A8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71561F5F-B416-4ACC-8514-A48060440EB5}" type="pres">
      <dgm:prSet presAssocID="{2BB7F0C4-72BB-4EB6-8615-2DF040D60AE9}" presName="parTxOnlySpace" presStyleCnt="0"/>
      <dgm:spPr/>
    </dgm:pt>
    <dgm:pt modelId="{5BCCE1C3-E9C3-48BA-8408-FA6343C56960}" type="pres">
      <dgm:prSet presAssocID="{7F23B36E-B15B-486F-A5F3-9B0F750B8551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DD734A13-4C31-4159-9ABE-2169749597D4}" srcId="{AD800083-7FB8-4174-B388-01F8EA834CDF}" destId="{D23A8B07-3626-429B-BD7A-9212261867B9}" srcOrd="1" destOrd="0" parTransId="{53CD30F4-CA6B-47C5-ADC8-51D00E5CDAC4}" sibTransId="{0B805177-1389-4482-A17C-8F9E6E52449D}"/>
    <dgm:cxn modelId="{24C1EE27-D208-42AD-A9A5-7AFE5CAC7817}" srcId="{AD800083-7FB8-4174-B388-01F8EA834CDF}" destId="{7F23B36E-B15B-486F-A5F3-9B0F750B8551}" srcOrd="3" destOrd="0" parTransId="{4BCDDD55-7D53-46B1-9A68-C3DDC734F128}" sibTransId="{120E1F3D-AD85-48F6-A7C3-4BCC28A37E2D}"/>
    <dgm:cxn modelId="{BC13C52A-EEBC-4BC8-9211-902B0717A430}" type="presOf" srcId="{7F23B36E-B15B-486F-A5F3-9B0F750B8551}" destId="{5BCCE1C3-E9C3-48BA-8408-FA6343C56960}" srcOrd="0" destOrd="0" presId="urn:microsoft.com/office/officeart/2005/8/layout/chevron1"/>
    <dgm:cxn modelId="{D4AA7C53-050A-439D-9C94-128284AB214D}" type="presOf" srcId="{AD800083-7FB8-4174-B388-01F8EA834CDF}" destId="{6BA6FDF3-7838-4034-AE18-8ECF2D745879}" srcOrd="0" destOrd="0" presId="urn:microsoft.com/office/officeart/2005/8/layout/chevron1"/>
    <dgm:cxn modelId="{5DC23984-9D88-472A-A56F-C19EF3D064C1}" type="presOf" srcId="{D23A8B07-3626-429B-BD7A-9212261867B9}" destId="{03CC7626-DAA5-48B3-91D7-07C76B40599B}" srcOrd="0" destOrd="0" presId="urn:microsoft.com/office/officeart/2005/8/layout/chevron1"/>
    <dgm:cxn modelId="{2FAA7493-06FB-450A-B449-BBBEE1F6113D}" type="presOf" srcId="{7E075C96-A700-486B-9DAA-BEEFC5C02A84}" destId="{E7223948-B3A5-46A6-B059-6B67FF10327A}" srcOrd="0" destOrd="0" presId="urn:microsoft.com/office/officeart/2005/8/layout/chevron1"/>
    <dgm:cxn modelId="{0C0F0CC7-839C-40EC-8B4F-FB236ACABD67}" srcId="{AD800083-7FB8-4174-B388-01F8EA834CDF}" destId="{8989CF19-872E-4FF0-8782-ED4166859FD7}" srcOrd="0" destOrd="0" parTransId="{21368A4A-95F6-4222-948C-E69C65BF6CE6}" sibTransId="{0AFF435B-6708-46E2-A27A-329E70FC5378}"/>
    <dgm:cxn modelId="{DF5E02EC-C265-4E1D-85FA-0B60BBEFBEE5}" srcId="{AD800083-7FB8-4174-B388-01F8EA834CDF}" destId="{7E075C96-A700-486B-9DAA-BEEFC5C02A84}" srcOrd="2" destOrd="0" parTransId="{D14BAD42-55FA-45E6-8156-91B8F210599C}" sibTransId="{2BB7F0C4-72BB-4EB6-8615-2DF040D60AE9}"/>
    <dgm:cxn modelId="{B067F0F0-B5C4-4058-8A36-FA5CF88AA04F}" type="presOf" srcId="{8989CF19-872E-4FF0-8782-ED4166859FD7}" destId="{435D247B-06FC-4CEC-9D04-40A99BA1608D}" srcOrd="0" destOrd="0" presId="urn:microsoft.com/office/officeart/2005/8/layout/chevron1"/>
    <dgm:cxn modelId="{7493A697-A24F-4E14-B271-3FDA0FB8C226}" type="presParOf" srcId="{6BA6FDF3-7838-4034-AE18-8ECF2D745879}" destId="{435D247B-06FC-4CEC-9D04-40A99BA1608D}" srcOrd="0" destOrd="0" presId="urn:microsoft.com/office/officeart/2005/8/layout/chevron1"/>
    <dgm:cxn modelId="{29C9F242-D2B9-417E-89D7-87007CB98626}" type="presParOf" srcId="{6BA6FDF3-7838-4034-AE18-8ECF2D745879}" destId="{E0049EBD-6F30-442E-B6C7-A4CD4E4D0C7A}" srcOrd="1" destOrd="0" presId="urn:microsoft.com/office/officeart/2005/8/layout/chevron1"/>
    <dgm:cxn modelId="{A4ECE42C-7663-430B-A703-438263789A57}" type="presParOf" srcId="{6BA6FDF3-7838-4034-AE18-8ECF2D745879}" destId="{03CC7626-DAA5-48B3-91D7-07C76B40599B}" srcOrd="2" destOrd="0" presId="urn:microsoft.com/office/officeart/2005/8/layout/chevron1"/>
    <dgm:cxn modelId="{0A0F9461-A653-4514-A0D0-EFB5518319F0}" type="presParOf" srcId="{6BA6FDF3-7838-4034-AE18-8ECF2D745879}" destId="{C16A8357-AB23-4A7D-BC29-F1F386CABF20}" srcOrd="3" destOrd="0" presId="urn:microsoft.com/office/officeart/2005/8/layout/chevron1"/>
    <dgm:cxn modelId="{2A0E32A3-D27D-437B-B576-E5C3CA526B47}" type="presParOf" srcId="{6BA6FDF3-7838-4034-AE18-8ECF2D745879}" destId="{E7223948-B3A5-46A6-B059-6B67FF10327A}" srcOrd="4" destOrd="0" presId="urn:microsoft.com/office/officeart/2005/8/layout/chevron1"/>
    <dgm:cxn modelId="{13FE4351-FF0A-4C79-A31D-11E5D07BEE23}" type="presParOf" srcId="{6BA6FDF3-7838-4034-AE18-8ECF2D745879}" destId="{71561F5F-B416-4ACC-8514-A48060440EB5}" srcOrd="5" destOrd="0" presId="urn:microsoft.com/office/officeart/2005/8/layout/chevron1"/>
    <dgm:cxn modelId="{D20974C2-D97A-4639-B39C-B764B1CCD0D0}" type="presParOf" srcId="{6BA6FDF3-7838-4034-AE18-8ECF2D745879}" destId="{5BCCE1C3-E9C3-48BA-8408-FA6343C56960}" srcOrd="6" destOrd="0" presId="urn:microsoft.com/office/officeart/2005/8/layout/chevron1"/>
  </dgm:cxnLst>
  <dgm:bg>
    <a:effectLst>
      <a:outerShdw blurRad="50800" dist="38100" dir="2700000" algn="tl" rotWithShape="0">
        <a:prstClr val="black">
          <a:alpha val="40000"/>
        </a:prstClr>
      </a:outerShdw>
    </a:effectLst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35D247B-06FC-4CEC-9D04-40A99BA1608D}">
      <dsp:nvSpPr>
        <dsp:cNvPr id="0" name=""/>
        <dsp:cNvSpPr/>
      </dsp:nvSpPr>
      <dsp:spPr>
        <a:xfrm>
          <a:off x="3719" y="0"/>
          <a:ext cx="2165074" cy="609468"/>
        </a:xfrm>
        <a:prstGeom prst="chevron">
          <a:avLst/>
        </a:prstGeom>
        <a:gradFill rotWithShape="0">
          <a:gsLst>
            <a:gs pos="0">
              <a:schemeClr val="accent2">
                <a:alpha val="9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alpha val="9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alpha val="9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a-ES" sz="1500" kern="1200" noProof="0" dirty="0"/>
            <a:t>Entrevista preliminar</a:t>
          </a:r>
        </a:p>
      </dsp:txBody>
      <dsp:txXfrm>
        <a:off x="308453" y="0"/>
        <a:ext cx="1555606" cy="609468"/>
      </dsp:txXfrm>
    </dsp:sp>
    <dsp:sp modelId="{03CC7626-DAA5-48B3-91D7-07C76B40599B}">
      <dsp:nvSpPr>
        <dsp:cNvPr id="0" name=""/>
        <dsp:cNvSpPr/>
      </dsp:nvSpPr>
      <dsp:spPr>
        <a:xfrm>
          <a:off x="1952286" y="0"/>
          <a:ext cx="2165074" cy="609468"/>
        </a:xfrm>
        <a:prstGeom prst="chevron">
          <a:avLst/>
        </a:prstGeom>
        <a:gradFill rotWithShape="0">
          <a:gsLst>
            <a:gs pos="0">
              <a:schemeClr val="accent2">
                <a:alpha val="90000"/>
                <a:hueOff val="0"/>
                <a:satOff val="0"/>
                <a:lumOff val="0"/>
                <a:alphaOff val="-13333"/>
                <a:tint val="50000"/>
                <a:satMod val="300000"/>
              </a:schemeClr>
            </a:gs>
            <a:gs pos="35000">
              <a:schemeClr val="accent2">
                <a:alpha val="90000"/>
                <a:hueOff val="0"/>
                <a:satOff val="0"/>
                <a:lumOff val="0"/>
                <a:alphaOff val="-13333"/>
                <a:tint val="37000"/>
                <a:satMod val="300000"/>
              </a:schemeClr>
            </a:gs>
            <a:gs pos="100000">
              <a:schemeClr val="accent2">
                <a:alpha val="90000"/>
                <a:hueOff val="0"/>
                <a:satOff val="0"/>
                <a:lumOff val="0"/>
                <a:alphaOff val="-13333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a-ES" sz="1500" kern="1200" noProof="0" dirty="0"/>
            <a:t>Anàlisi de la informació</a:t>
          </a:r>
        </a:p>
      </dsp:txBody>
      <dsp:txXfrm>
        <a:off x="2257020" y="0"/>
        <a:ext cx="1555606" cy="609468"/>
      </dsp:txXfrm>
    </dsp:sp>
    <dsp:sp modelId="{E7223948-B3A5-46A6-B059-6B67FF10327A}">
      <dsp:nvSpPr>
        <dsp:cNvPr id="0" name=""/>
        <dsp:cNvSpPr/>
      </dsp:nvSpPr>
      <dsp:spPr>
        <a:xfrm>
          <a:off x="3900853" y="0"/>
          <a:ext cx="2165074" cy="609468"/>
        </a:xfrm>
        <a:prstGeom prst="chevron">
          <a:avLst/>
        </a:prstGeom>
        <a:gradFill rotWithShape="0">
          <a:gsLst>
            <a:gs pos="0">
              <a:schemeClr val="accent2">
                <a:alpha val="90000"/>
                <a:hueOff val="0"/>
                <a:satOff val="0"/>
                <a:lumOff val="0"/>
                <a:alphaOff val="-26667"/>
                <a:tint val="50000"/>
                <a:satMod val="300000"/>
              </a:schemeClr>
            </a:gs>
            <a:gs pos="35000">
              <a:schemeClr val="accent2">
                <a:alpha val="90000"/>
                <a:hueOff val="0"/>
                <a:satOff val="0"/>
                <a:lumOff val="0"/>
                <a:alphaOff val="-26667"/>
                <a:tint val="37000"/>
                <a:satMod val="300000"/>
              </a:schemeClr>
            </a:gs>
            <a:gs pos="100000">
              <a:schemeClr val="accent2">
                <a:alpha val="90000"/>
                <a:hueOff val="0"/>
                <a:satOff val="0"/>
                <a:lumOff val="0"/>
                <a:alphaOff val="-26667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a-ES" sz="1500" kern="1200" noProof="0" dirty="0"/>
            <a:t>Conclusions</a:t>
          </a:r>
        </a:p>
      </dsp:txBody>
      <dsp:txXfrm>
        <a:off x="4205587" y="0"/>
        <a:ext cx="1555606" cy="609468"/>
      </dsp:txXfrm>
    </dsp:sp>
    <dsp:sp modelId="{5BCCE1C3-E9C3-48BA-8408-FA6343C56960}">
      <dsp:nvSpPr>
        <dsp:cNvPr id="0" name=""/>
        <dsp:cNvSpPr/>
      </dsp:nvSpPr>
      <dsp:spPr>
        <a:xfrm>
          <a:off x="5849420" y="0"/>
          <a:ext cx="2165074" cy="609468"/>
        </a:xfrm>
        <a:prstGeom prst="chevron">
          <a:avLst/>
        </a:prstGeom>
        <a:gradFill rotWithShape="0">
          <a:gsLst>
            <a:gs pos="0">
              <a:schemeClr val="accent2">
                <a:alpha val="90000"/>
                <a:hueOff val="0"/>
                <a:satOff val="0"/>
                <a:lumOff val="0"/>
                <a:alphaOff val="-40000"/>
                <a:tint val="50000"/>
                <a:satMod val="300000"/>
              </a:schemeClr>
            </a:gs>
            <a:gs pos="35000">
              <a:schemeClr val="accent2">
                <a:alpha val="90000"/>
                <a:hueOff val="0"/>
                <a:satOff val="0"/>
                <a:lumOff val="0"/>
                <a:alphaOff val="-40000"/>
                <a:tint val="37000"/>
                <a:satMod val="300000"/>
              </a:schemeClr>
            </a:gs>
            <a:gs pos="100000">
              <a:schemeClr val="accent2">
                <a:alpha val="90000"/>
                <a:hueOff val="0"/>
                <a:satOff val="0"/>
                <a:lumOff val="0"/>
                <a:alphaOff val="-4000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008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a-ES" sz="1500" kern="1200" noProof="0" dirty="0"/>
            <a:t>Recomanacions</a:t>
          </a:r>
        </a:p>
      </dsp:txBody>
      <dsp:txXfrm>
        <a:off x="6154154" y="0"/>
        <a:ext cx="1555606" cy="60946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371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120" tIns="45560" rIns="91120" bIns="45560" numCol="1" anchor="t" anchorCtr="0" compatLnSpc="1">
            <a:prstTxWarp prst="textNoShape">
              <a:avLst/>
            </a:prstTxWarp>
          </a:bodyPr>
          <a:lstStyle>
            <a:lvl1pPr eaLnBrk="1" hangingPunct="1">
              <a:spcBef>
                <a:spcPct val="0"/>
              </a:spcBef>
              <a:defRPr sz="1200" b="0" dirty="0">
                <a:latin typeface="Arial" charset="0"/>
              </a:defRPr>
            </a:lvl1pPr>
          </a:lstStyle>
          <a:p>
            <a:pPr>
              <a:defRPr/>
            </a:pPr>
            <a:endParaRPr lang="ca-ES" dirty="0"/>
          </a:p>
        </p:txBody>
      </p:sp>
      <p:sp>
        <p:nvSpPr>
          <p:cNvPr id="6041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6400" cy="49371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120" tIns="45560" rIns="91120" bIns="45560" numCol="1" anchor="t" anchorCtr="0" compatLnSpc="1">
            <a:prstTxWarp prst="textNoShape">
              <a:avLst/>
            </a:prstTxWarp>
          </a:bodyPr>
          <a:lstStyle>
            <a:lvl1pPr algn="r" eaLnBrk="1" hangingPunct="1">
              <a:spcBef>
                <a:spcPct val="0"/>
              </a:spcBef>
              <a:defRPr sz="1200" b="0" dirty="0">
                <a:latin typeface="Arial" charset="0"/>
              </a:defRPr>
            </a:lvl1pPr>
          </a:lstStyle>
          <a:p>
            <a:pPr>
              <a:defRPr/>
            </a:pPr>
            <a:endParaRPr lang="ca-ES" dirty="0"/>
          </a:p>
        </p:txBody>
      </p:sp>
      <p:sp>
        <p:nvSpPr>
          <p:cNvPr id="6042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77363"/>
            <a:ext cx="2946400" cy="49371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120" tIns="45560" rIns="91120" bIns="45560" numCol="1" anchor="b" anchorCtr="0" compatLnSpc="1">
            <a:prstTxWarp prst="textNoShape">
              <a:avLst/>
            </a:prstTxWarp>
          </a:bodyPr>
          <a:lstStyle>
            <a:lvl1pPr eaLnBrk="1" hangingPunct="1">
              <a:spcBef>
                <a:spcPct val="0"/>
              </a:spcBef>
              <a:defRPr sz="1200" b="0" dirty="0">
                <a:latin typeface="Arial" charset="0"/>
              </a:defRPr>
            </a:lvl1pPr>
          </a:lstStyle>
          <a:p>
            <a:pPr>
              <a:defRPr/>
            </a:pPr>
            <a:endParaRPr lang="ca-ES" dirty="0"/>
          </a:p>
        </p:txBody>
      </p:sp>
      <p:sp>
        <p:nvSpPr>
          <p:cNvPr id="6042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377363"/>
            <a:ext cx="2946400" cy="49371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120" tIns="45560" rIns="91120" bIns="45560" numCol="1" anchor="b" anchorCtr="0" compatLnSpc="1">
            <a:prstTxWarp prst="textNoShape">
              <a:avLst/>
            </a:prstTxWarp>
          </a:bodyPr>
          <a:lstStyle>
            <a:lvl1pPr algn="r" eaLnBrk="1" hangingPunct="1">
              <a:spcBef>
                <a:spcPct val="0"/>
              </a:spcBef>
              <a:defRPr sz="1200" b="0">
                <a:latin typeface="Arial" charset="0"/>
              </a:defRPr>
            </a:lvl1pPr>
          </a:lstStyle>
          <a:p>
            <a:pPr>
              <a:defRPr/>
            </a:pPr>
            <a:fld id="{46C0899F-7F67-4A65-9F5F-765D8604AFA2}" type="slidenum">
              <a:rPr lang="ca-ES"/>
              <a:pPr>
                <a:defRPr/>
              </a:pPr>
              <a:t>‹#›</a:t>
            </a:fld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350582610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371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120" tIns="45560" rIns="91120" bIns="45560" numCol="1" anchor="t" anchorCtr="0" compatLnSpc="1">
            <a:prstTxWarp prst="textNoShape">
              <a:avLst/>
            </a:prstTxWarp>
          </a:bodyPr>
          <a:lstStyle>
            <a:lvl1pPr eaLnBrk="1" hangingPunct="1">
              <a:spcBef>
                <a:spcPct val="0"/>
              </a:spcBef>
              <a:defRPr sz="1200" b="0" dirty="0">
                <a:latin typeface="Arial" charset="0"/>
              </a:defRPr>
            </a:lvl1pPr>
          </a:lstStyle>
          <a:p>
            <a:pPr>
              <a:defRPr/>
            </a:pPr>
            <a:endParaRPr lang="ca-ES" dirty="0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371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120" tIns="45560" rIns="91120" bIns="45560" numCol="1" anchor="t" anchorCtr="0" compatLnSpc="1">
            <a:prstTxWarp prst="textNoShape">
              <a:avLst/>
            </a:prstTxWarp>
          </a:bodyPr>
          <a:lstStyle>
            <a:lvl1pPr algn="r" eaLnBrk="1" hangingPunct="1">
              <a:spcBef>
                <a:spcPct val="0"/>
              </a:spcBef>
              <a:defRPr sz="1200" b="0" dirty="0">
                <a:latin typeface="Arial" charset="0"/>
              </a:defRPr>
            </a:lvl1pPr>
          </a:lstStyle>
          <a:p>
            <a:pPr>
              <a:defRPr/>
            </a:pPr>
            <a:endParaRPr lang="ca-ES" dirty="0"/>
          </a:p>
        </p:txBody>
      </p:sp>
      <p:sp>
        <p:nvSpPr>
          <p:cNvPr id="41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23900" y="739775"/>
            <a:ext cx="5349875" cy="37036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689475"/>
            <a:ext cx="5438775" cy="444341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120" tIns="45560" rIns="91120" bIns="4556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a-ES" noProof="0" dirty="0"/>
              <a:t>Feu clic aquí per editar els estils de text del patró</a:t>
            </a:r>
          </a:p>
          <a:p>
            <a:pPr lvl="1"/>
            <a:r>
              <a:rPr lang="ca-ES" noProof="0" dirty="0"/>
              <a:t>Segon nivell</a:t>
            </a:r>
          </a:p>
          <a:p>
            <a:pPr lvl="2"/>
            <a:r>
              <a:rPr lang="ca-ES" noProof="0" dirty="0"/>
              <a:t>Tercer nivell</a:t>
            </a:r>
          </a:p>
          <a:p>
            <a:pPr lvl="3"/>
            <a:r>
              <a:rPr lang="ca-ES" noProof="0" dirty="0"/>
              <a:t>Quart nivell</a:t>
            </a:r>
          </a:p>
          <a:p>
            <a:pPr lvl="4"/>
            <a:r>
              <a:rPr lang="ca-ES" noProof="0" dirty="0"/>
              <a:t>Cinquè nivell</a:t>
            </a:r>
          </a:p>
        </p:txBody>
      </p:sp>
      <p:sp>
        <p:nvSpPr>
          <p:cNvPr id="717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77363"/>
            <a:ext cx="2946400" cy="49371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120" tIns="45560" rIns="91120" bIns="45560" numCol="1" anchor="b" anchorCtr="0" compatLnSpc="1">
            <a:prstTxWarp prst="textNoShape">
              <a:avLst/>
            </a:prstTxWarp>
          </a:bodyPr>
          <a:lstStyle>
            <a:lvl1pPr eaLnBrk="1" hangingPunct="1">
              <a:spcBef>
                <a:spcPct val="0"/>
              </a:spcBef>
              <a:defRPr sz="1200" b="0" dirty="0">
                <a:latin typeface="Arial" charset="0"/>
              </a:defRPr>
            </a:lvl1pPr>
          </a:lstStyle>
          <a:p>
            <a:pPr>
              <a:defRPr/>
            </a:pPr>
            <a:endParaRPr lang="ca-ES" dirty="0"/>
          </a:p>
        </p:txBody>
      </p:sp>
      <p:sp>
        <p:nvSpPr>
          <p:cNvPr id="717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377363"/>
            <a:ext cx="2946400" cy="49371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120" tIns="45560" rIns="91120" bIns="45560" numCol="1" anchor="b" anchorCtr="0" compatLnSpc="1">
            <a:prstTxWarp prst="textNoShape">
              <a:avLst/>
            </a:prstTxWarp>
          </a:bodyPr>
          <a:lstStyle>
            <a:lvl1pPr algn="r" eaLnBrk="1" hangingPunct="1">
              <a:spcBef>
                <a:spcPct val="0"/>
              </a:spcBef>
              <a:defRPr sz="1200" b="0">
                <a:latin typeface="Arial" charset="0"/>
              </a:defRPr>
            </a:lvl1pPr>
          </a:lstStyle>
          <a:p>
            <a:pPr>
              <a:defRPr/>
            </a:pPr>
            <a:fld id="{65D261DF-5B5F-4183-AE16-5EDE8E9366F0}" type="slidenum">
              <a:rPr lang="ca-ES" smtClean="0"/>
              <a:pPr>
                <a:defRPr/>
              </a:pPr>
              <a:t>‹#›</a:t>
            </a:fld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329133192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a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5D261DF-5B5F-4183-AE16-5EDE8E9366F0}" type="slidenum">
              <a:rPr lang="ca-ES" smtClean="0"/>
              <a:pPr>
                <a:defRPr/>
              </a:pPr>
              <a:t>1</a:t>
            </a:fld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8031620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a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5D261DF-5B5F-4183-AE16-5EDE8E9366F0}" type="slidenum">
              <a:rPr lang="ca-ES" smtClean="0"/>
              <a:pPr>
                <a:defRPr/>
              </a:pPr>
              <a:t>2</a:t>
            </a:fld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42465229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200" b="1">
                <a:solidFill>
                  <a:schemeClr val="tx1"/>
                </a:solidFill>
                <a:latin typeface="Arial" charset="0"/>
              </a:defRPr>
            </a:lvl1pPr>
            <a:lvl2pPr marL="746442" indent="-287093" eaLnBrk="0" hangingPunct="0">
              <a:defRPr sz="2200" b="1">
                <a:solidFill>
                  <a:schemeClr val="tx1"/>
                </a:solidFill>
                <a:latin typeface="Arial" charset="0"/>
              </a:defRPr>
            </a:lvl2pPr>
            <a:lvl3pPr marL="1148372" indent="-229674" eaLnBrk="0" hangingPunct="0">
              <a:defRPr sz="2200" b="1">
                <a:solidFill>
                  <a:schemeClr val="tx1"/>
                </a:solidFill>
                <a:latin typeface="Arial" charset="0"/>
              </a:defRPr>
            </a:lvl3pPr>
            <a:lvl4pPr marL="1607721" indent="-229674" eaLnBrk="0" hangingPunct="0">
              <a:defRPr sz="2200" b="1">
                <a:solidFill>
                  <a:schemeClr val="tx1"/>
                </a:solidFill>
                <a:latin typeface="Arial" charset="0"/>
              </a:defRPr>
            </a:lvl4pPr>
            <a:lvl5pPr marL="2067070" indent="-229674" eaLnBrk="0" hangingPunct="0">
              <a:defRPr sz="2200" b="1">
                <a:solidFill>
                  <a:schemeClr val="tx1"/>
                </a:solidFill>
                <a:latin typeface="Arial" charset="0"/>
              </a:defRPr>
            </a:lvl5pPr>
            <a:lvl6pPr marL="2526419" indent="-229674" eaLnBrk="0" fontAlgn="base" hangingPunct="0">
              <a:spcBef>
                <a:spcPct val="5000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6pPr>
            <a:lvl7pPr marL="2985767" indent="-229674" eaLnBrk="0" fontAlgn="base" hangingPunct="0">
              <a:spcBef>
                <a:spcPct val="5000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7pPr>
            <a:lvl8pPr marL="3445116" indent="-229674" eaLnBrk="0" fontAlgn="base" hangingPunct="0">
              <a:spcBef>
                <a:spcPct val="5000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8pPr>
            <a:lvl9pPr marL="3904465" indent="-229674" eaLnBrk="0" fontAlgn="base" hangingPunct="0">
              <a:spcBef>
                <a:spcPct val="5000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BE59F9B1-0932-4103-8522-9A5A850AD19F}" type="slidenum">
              <a:rPr lang="ca-ES" altLang="ca-ES" sz="1200" b="0"/>
              <a:pPr eaLnBrk="1" hangingPunct="1"/>
              <a:t>8</a:t>
            </a:fld>
            <a:endParaRPr lang="ca-ES" altLang="ca-ES" sz="1200" b="0" dirty="0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altLang="ca-ES" dirty="0"/>
          </a:p>
        </p:txBody>
      </p:sp>
    </p:spTree>
    <p:extLst>
      <p:ext uri="{BB962C8B-B14F-4D97-AF65-F5344CB8AC3E}">
        <p14:creationId xmlns:p14="http://schemas.microsoft.com/office/powerpoint/2010/main" val="2177830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42950" y="3246349"/>
            <a:ext cx="8420100" cy="1200329"/>
          </a:xfrm>
        </p:spPr>
        <p:txBody>
          <a:bodyPr anchor="ctr">
            <a:spAutoFit/>
          </a:bodyPr>
          <a:lstStyle>
            <a:lvl1pPr algn="ctr">
              <a:defRPr sz="3600"/>
            </a:lvl1pPr>
          </a:lstStyle>
          <a:p>
            <a:r>
              <a:rPr lang="ca-ES" dirty="0" err="1"/>
              <a:t>Haga</a:t>
            </a:r>
            <a:r>
              <a:rPr lang="ca-ES" dirty="0"/>
              <a:t> clic para modificar el estilo de </a:t>
            </a:r>
            <a:r>
              <a:rPr lang="ca-ES" dirty="0" err="1"/>
              <a:t>título</a:t>
            </a:r>
            <a:r>
              <a:rPr lang="ca-ES" dirty="0"/>
              <a:t> del </a:t>
            </a:r>
            <a:r>
              <a:rPr lang="ca-ES" dirty="0" err="1"/>
              <a:t>patrón</a:t>
            </a:r>
            <a:endParaRPr lang="ca-E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4875213"/>
            <a:ext cx="6934200" cy="762000"/>
          </a:xfrm>
          <a:prstGeom prst="rect">
            <a:avLst/>
          </a:prstGeom>
        </p:spPr>
        <p:txBody>
          <a:bodyPr/>
          <a:lstStyle>
            <a:lvl1pPr marL="0" indent="0" algn="ctr">
              <a:buFont typeface="Wingdings" pitchFamily="2" charset="2"/>
              <a:buNone/>
              <a:defRPr sz="2200" b="1"/>
            </a:lvl1pPr>
          </a:lstStyle>
          <a:p>
            <a:r>
              <a:rPr lang="ca-ES" dirty="0" err="1"/>
              <a:t>Haga</a:t>
            </a:r>
            <a:r>
              <a:rPr lang="ca-ES" dirty="0"/>
              <a:t> clic para modificar el estilo de </a:t>
            </a:r>
            <a:r>
              <a:rPr lang="ca-ES" dirty="0" err="1"/>
              <a:t>subtítulo</a:t>
            </a:r>
            <a:r>
              <a:rPr lang="ca-ES" dirty="0"/>
              <a:t> del </a:t>
            </a:r>
            <a:r>
              <a:rPr lang="ca-ES" dirty="0" err="1"/>
              <a:t>patrón</a:t>
            </a:r>
            <a:endParaRPr lang="ca-ES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453189"/>
            <a:ext cx="2311400" cy="268287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ca-E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453189"/>
            <a:ext cx="3136900" cy="268287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ca-ES" dirty="0"/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7578834" y="6579314"/>
            <a:ext cx="2311400" cy="268287"/>
          </a:xfrm>
          <a:prstGeom prst="rect">
            <a:avLst/>
          </a:prstGeom>
          <a:ln/>
        </p:spPr>
        <p:txBody>
          <a:bodyPr/>
          <a:lstStyle>
            <a:lvl1pPr algn="r">
              <a:defRPr sz="900"/>
            </a:lvl1pPr>
          </a:lstStyle>
          <a:p>
            <a:pPr>
              <a:defRPr/>
            </a:pPr>
            <a:fld id="{C7FA838A-C26A-4BE1-93FE-2EFE85DC030B}" type="slidenum">
              <a:rPr lang="ca-ES" smtClean="0"/>
              <a:pPr>
                <a:defRPr/>
              </a:pPr>
              <a:t>‹#›</a:t>
            </a:fld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35909814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bas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6 Objeto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49603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92124" y="992168"/>
            <a:ext cx="9013171" cy="3077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ca-ES" dirty="0" err="1"/>
              <a:t>Haga</a:t>
            </a:r>
            <a:r>
              <a:rPr lang="ca-ES" dirty="0"/>
              <a:t> clic para modificar el estilo de </a:t>
            </a:r>
            <a:r>
              <a:rPr lang="ca-ES" dirty="0" err="1"/>
              <a:t>texto</a:t>
            </a:r>
            <a:r>
              <a:rPr lang="ca-ES" dirty="0"/>
              <a:t> del </a:t>
            </a:r>
            <a:r>
              <a:rPr lang="ca-ES" dirty="0" err="1"/>
              <a:t>patrón</a:t>
            </a:r>
            <a:endParaRPr lang="ca-ES" dirty="0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7578834" y="6579314"/>
            <a:ext cx="2311400" cy="268287"/>
          </a:xfrm>
          <a:prstGeom prst="rect">
            <a:avLst/>
          </a:prstGeom>
          <a:ln/>
        </p:spPr>
        <p:txBody>
          <a:bodyPr/>
          <a:lstStyle>
            <a:lvl1pPr algn="r">
              <a:defRPr sz="900"/>
            </a:lvl1pPr>
          </a:lstStyle>
          <a:p>
            <a:pPr>
              <a:defRPr/>
            </a:pPr>
            <a:fld id="{C7FA838A-C26A-4BE1-93FE-2EFE85DC030B}" type="slidenum">
              <a:rPr lang="ca-ES" smtClean="0"/>
              <a:pPr>
                <a:defRPr/>
              </a:pPr>
              <a:t>‹#›</a:t>
            </a:fld>
            <a:endParaRPr lang="ca-ES" dirty="0"/>
          </a:p>
        </p:txBody>
      </p:sp>
      <p:sp>
        <p:nvSpPr>
          <p:cNvPr id="6" name="5 Título"/>
          <p:cNvSpPr>
            <a:spLocks noGrp="1"/>
          </p:cNvSpPr>
          <p:nvPr>
            <p:ph type="title"/>
          </p:nvPr>
        </p:nvSpPr>
        <p:spPr>
          <a:xfrm>
            <a:off x="488975" y="228818"/>
            <a:ext cx="9067775" cy="647700"/>
          </a:xfrm>
        </p:spPr>
        <p:txBody>
          <a:bodyPr anchor="ctr"/>
          <a:lstStyle>
            <a:lvl1pPr>
              <a:defRPr sz="2000"/>
            </a:lvl1pPr>
          </a:lstStyle>
          <a:p>
            <a:r>
              <a:rPr lang="ca-ES" dirty="0" err="1"/>
              <a:t>Haga</a:t>
            </a:r>
            <a:r>
              <a:rPr lang="ca-ES" dirty="0"/>
              <a:t> clic para modificar el estilo de </a:t>
            </a:r>
            <a:r>
              <a:rPr lang="ca-ES" dirty="0" err="1"/>
              <a:t>título</a:t>
            </a:r>
            <a:r>
              <a:rPr lang="ca-ES" dirty="0"/>
              <a:t> del </a:t>
            </a:r>
            <a:r>
              <a:rPr lang="ca-ES" dirty="0" err="1"/>
              <a:t>patrón</a:t>
            </a:r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28469915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ÍNDE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6 Objeto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79903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7578834" y="6579314"/>
            <a:ext cx="2311400" cy="268287"/>
          </a:xfrm>
          <a:prstGeom prst="rect">
            <a:avLst/>
          </a:prstGeom>
          <a:ln/>
        </p:spPr>
        <p:txBody>
          <a:bodyPr/>
          <a:lstStyle>
            <a:lvl1pPr algn="r">
              <a:defRPr sz="900"/>
            </a:lvl1pPr>
          </a:lstStyle>
          <a:p>
            <a:pPr>
              <a:defRPr/>
            </a:pPr>
            <a:fld id="{C7FA838A-C26A-4BE1-93FE-2EFE85DC030B}" type="slidenum">
              <a:rPr lang="ca-ES" smtClean="0"/>
              <a:pPr>
                <a:defRPr/>
              </a:pPr>
              <a:t>‹#›</a:t>
            </a:fld>
            <a:endParaRPr lang="ca-ES" dirty="0"/>
          </a:p>
        </p:txBody>
      </p:sp>
      <p:sp>
        <p:nvSpPr>
          <p:cNvPr id="6" name="5 Título"/>
          <p:cNvSpPr>
            <a:spLocks noGrp="1"/>
          </p:cNvSpPr>
          <p:nvPr>
            <p:ph type="title"/>
          </p:nvPr>
        </p:nvSpPr>
        <p:spPr>
          <a:xfrm>
            <a:off x="488975" y="228818"/>
            <a:ext cx="9067775" cy="647700"/>
          </a:xfrm>
        </p:spPr>
        <p:txBody>
          <a:bodyPr anchor="ctr"/>
          <a:lstStyle>
            <a:lvl1pPr>
              <a:defRPr sz="2000"/>
            </a:lvl1pPr>
          </a:lstStyle>
          <a:p>
            <a:r>
              <a:rPr lang="ca-ES" dirty="0" err="1"/>
              <a:t>Haga</a:t>
            </a:r>
            <a:r>
              <a:rPr lang="ca-ES" dirty="0"/>
              <a:t> clic para modificar el estilo de </a:t>
            </a:r>
            <a:r>
              <a:rPr lang="ca-ES" dirty="0" err="1"/>
              <a:t>título</a:t>
            </a:r>
            <a:r>
              <a:rPr lang="ca-ES" dirty="0"/>
              <a:t> del </a:t>
            </a:r>
            <a:r>
              <a:rPr lang="ca-ES" dirty="0" err="1"/>
              <a:t>patrón</a:t>
            </a:r>
            <a:endParaRPr lang="ca-ES" dirty="0"/>
          </a:p>
        </p:txBody>
      </p:sp>
      <p:sp>
        <p:nvSpPr>
          <p:cNvPr id="2" name="1 Rectángulo"/>
          <p:cNvSpPr/>
          <p:nvPr userDrawn="1"/>
        </p:nvSpPr>
        <p:spPr bwMode="auto">
          <a:xfrm>
            <a:off x="236483" y="923816"/>
            <a:ext cx="9669517" cy="24585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ca-ES" sz="2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71482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eg"/><Relationship Id="rId5" Type="http://schemas.openxmlformats.org/officeDocument/2006/relationships/tags" Target="../tags/tag2.xml"/><Relationship Id="rId4" Type="http://schemas.openxmlformats.org/officeDocument/2006/relationships/theme" Target="../theme/theme1.xml"/><Relationship Id="rId9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6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Objeto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776450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7" imgW="270" imgH="270" progId="TCLayout.ActiveDocument.1">
                  <p:embed/>
                </p:oleObj>
              </mc:Choice>
              <mc:Fallback>
                <p:oleObj name="Diapositiva de think-cell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88975" y="228818"/>
            <a:ext cx="9067775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ca-ES" altLang="es-ES" dirty="0"/>
              <a:t>Feu clic aquí per editar l'estil de títol del patró</a:t>
            </a:r>
          </a:p>
        </p:txBody>
      </p:sp>
      <p:sp>
        <p:nvSpPr>
          <p:cNvPr id="1031" name="Line 7"/>
          <p:cNvSpPr>
            <a:spLocks noChangeShapeType="1"/>
          </p:cNvSpPr>
          <p:nvPr/>
        </p:nvSpPr>
        <p:spPr bwMode="auto">
          <a:xfrm>
            <a:off x="474650" y="949543"/>
            <a:ext cx="9028372" cy="0"/>
          </a:xfrm>
          <a:prstGeom prst="line">
            <a:avLst/>
          </a:prstGeom>
          <a:noFill/>
          <a:ln w="28575">
            <a:solidFill>
              <a:srgbClr val="C00000"/>
            </a:solidFill>
            <a:round/>
            <a:headEnd/>
            <a:tailEnd/>
          </a:ln>
        </p:spPr>
        <p:txBody>
          <a:bodyPr wrap="none" anchor="ctr"/>
          <a:lstStyle/>
          <a:p>
            <a:pPr eaLnBrk="1">
              <a:defRPr/>
            </a:pPr>
            <a:endParaRPr lang="ca-ES" sz="2200" dirty="0">
              <a:latin typeface="Arial" charset="0"/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7578834" y="6579314"/>
            <a:ext cx="2311400" cy="268287"/>
          </a:xfrm>
          <a:prstGeom prst="rect">
            <a:avLst/>
          </a:prstGeom>
          <a:ln/>
        </p:spPr>
        <p:txBody>
          <a:bodyPr/>
          <a:lstStyle>
            <a:lvl1pPr algn="r">
              <a:defRPr sz="900"/>
            </a:lvl1pPr>
          </a:lstStyle>
          <a:p>
            <a:pPr>
              <a:defRPr/>
            </a:pPr>
            <a:fld id="{C7FA838A-C26A-4BE1-93FE-2EFE85DC030B}" type="slidenum">
              <a:rPr lang="ca-ES" smtClean="0"/>
              <a:pPr>
                <a:defRPr/>
              </a:pPr>
              <a:t>‹#›</a:t>
            </a:fld>
            <a:endParaRPr lang="ca-ES" dirty="0"/>
          </a:p>
        </p:txBody>
      </p:sp>
      <p:pic>
        <p:nvPicPr>
          <p:cNvPr id="7" name="Picture 8" descr="http://www.gencat.cat/piv/descarregues/arxius/dpt/COLOR/Empresa/ctti_h3.jp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0487" y="99854"/>
            <a:ext cx="1196314" cy="2073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04596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7" r:id="rId3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C00000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C00000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C00000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C00000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C00000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00000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00000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00000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00000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C00000"/>
        </a:buClr>
        <a:buFont typeface="Wingdings" panose="05000000000000000000" pitchFamily="2" charset="2"/>
        <a:buChar char="o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§"/>
        <a:defRPr sz="16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–"/>
        <a:defRPr sz="16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–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–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5.jpe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jpeg"/><Relationship Id="rId4" Type="http://schemas.openxmlformats.org/officeDocument/2006/relationships/image" Target="../media/image9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jpe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wmf"/><Relationship Id="rId2" Type="http://schemas.openxmlformats.org/officeDocument/2006/relationships/package" Target="../embeddings/Microsoft_Excel_Worksheet1.xlsx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342900" y="2711440"/>
            <a:ext cx="9563100" cy="954107"/>
          </a:xfrm>
        </p:spPr>
        <p:txBody>
          <a:bodyPr/>
          <a:lstStyle/>
          <a:p>
            <a:r>
              <a:rPr lang="it-IT" sz="2800" dirty="0"/>
              <a:t>Avaluació de preparació  Agile</a:t>
            </a:r>
            <a:br>
              <a:rPr lang="it-IT" sz="2800" dirty="0"/>
            </a:br>
            <a:r>
              <a:rPr lang="it-IT" sz="2800" dirty="0"/>
              <a:t>&lt;nom de la solució&gt;</a:t>
            </a:r>
            <a:endParaRPr lang="ca-ES" sz="2000" dirty="0"/>
          </a:p>
        </p:txBody>
      </p:sp>
      <p:pic>
        <p:nvPicPr>
          <p:cNvPr id="6" name="Picture 8" descr="http://www.gencat.cat/piv/descarregues/arxius/dpt/COLOR/Empresa/ctti_h3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6512" y="677863"/>
            <a:ext cx="4752975" cy="823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ubtítulo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ca-ES" dirty="0"/>
              <a:t>&lt;data de lliurament&gt;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34E6FDF-905F-495E-7A64-C10C95583F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5551" y="6198120"/>
            <a:ext cx="4452774" cy="521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32598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7FA838A-C26A-4BE1-93FE-2EFE85DC030B}" type="slidenum">
              <a:rPr lang="ca-ES" smtClean="0"/>
              <a:pPr>
                <a:defRPr/>
              </a:pPr>
              <a:t>2</a:t>
            </a:fld>
            <a:endParaRPr lang="ca-ES" dirty="0"/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a-ES" dirty="0"/>
              <a:t>Índex</a:t>
            </a:r>
          </a:p>
        </p:txBody>
      </p:sp>
      <p:sp>
        <p:nvSpPr>
          <p:cNvPr id="5" name="Rectángulo 4"/>
          <p:cNvSpPr/>
          <p:nvPr/>
        </p:nvSpPr>
        <p:spPr bwMode="auto">
          <a:xfrm>
            <a:off x="1085614" y="1362076"/>
            <a:ext cx="6940785" cy="470993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t" anchorCtr="0" compatLnSpc="1">
            <a:prstTxWarp prst="textNoShape">
              <a:avLst/>
            </a:prstTxWarp>
          </a:bodyPr>
          <a:lstStyle/>
          <a:p>
            <a:pPr marL="342900" indent="-342900">
              <a:spcBef>
                <a:spcPts val="0"/>
              </a:spcBef>
              <a:spcAft>
                <a:spcPts val="600"/>
              </a:spcAft>
              <a:buFontTx/>
              <a:buAutoNum type="arabicPeriod"/>
            </a:pPr>
            <a:r>
              <a:rPr lang="ca-ES" sz="1600" dirty="0">
                <a:solidFill>
                  <a:srgbClr val="C00000"/>
                </a:solidFill>
                <a:latin typeface="Arial" charset="0"/>
              </a:rPr>
              <a:t>Introducció</a:t>
            </a:r>
          </a:p>
          <a:p>
            <a:pPr marL="342900" indent="-342900">
              <a:spcBef>
                <a:spcPts val="0"/>
              </a:spcBef>
              <a:spcAft>
                <a:spcPts val="600"/>
              </a:spcAft>
              <a:buFontTx/>
              <a:buAutoNum type="arabicPeriod"/>
            </a:pPr>
            <a:r>
              <a:rPr lang="ca-ES" sz="1600" dirty="0">
                <a:solidFill>
                  <a:srgbClr val="C00000"/>
                </a:solidFill>
                <a:latin typeface="Arial" charset="0"/>
              </a:rPr>
              <a:t>Anàlisi de la solució</a:t>
            </a:r>
          </a:p>
          <a:p>
            <a:pPr marL="342900" indent="-342900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ca-ES" sz="1600" dirty="0">
                <a:solidFill>
                  <a:srgbClr val="C00000"/>
                </a:solidFill>
                <a:latin typeface="Arial" charset="0"/>
              </a:rPr>
              <a:t>Recomanacions</a:t>
            </a:r>
          </a:p>
          <a:p>
            <a:pPr marL="342900" indent="-342900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ca-ES" sz="1600" dirty="0">
                <a:solidFill>
                  <a:srgbClr val="C00000"/>
                </a:solidFill>
                <a:latin typeface="Arial" charset="0"/>
              </a:rPr>
              <a:t>Annexos</a:t>
            </a:r>
          </a:p>
          <a:p>
            <a:pPr marL="800100" lvl="1" indent="-3429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ca-ES" sz="1600" dirty="0">
              <a:solidFill>
                <a:srgbClr val="C00000"/>
              </a:solidFill>
              <a:latin typeface="Arial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56EECEE-D39A-BEC5-DA1B-9FE3299D76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5551" y="6198120"/>
            <a:ext cx="4452774" cy="521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85434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7FA838A-C26A-4BE1-93FE-2EFE85DC030B}" type="slidenum">
              <a:rPr lang="ca-ES" smtClean="0"/>
              <a:pPr>
                <a:defRPr/>
              </a:pPr>
              <a:t>3</a:t>
            </a:fld>
            <a:endParaRPr lang="ca-ES" dirty="0"/>
          </a:p>
        </p:txBody>
      </p:sp>
      <p:sp>
        <p:nvSpPr>
          <p:cNvPr id="8" name="Título 3"/>
          <p:cNvSpPr>
            <a:spLocks noGrp="1"/>
          </p:cNvSpPr>
          <p:nvPr>
            <p:ph type="title"/>
          </p:nvPr>
        </p:nvSpPr>
        <p:spPr>
          <a:xfrm>
            <a:off x="488975" y="228818"/>
            <a:ext cx="9067775" cy="647700"/>
          </a:xfrm>
        </p:spPr>
        <p:txBody>
          <a:bodyPr/>
          <a:lstStyle/>
          <a:p>
            <a:r>
              <a:rPr lang="ca-ES" dirty="0"/>
              <a:t>1. Introducció</a:t>
            </a:r>
            <a:br>
              <a:rPr lang="ca-ES" dirty="0"/>
            </a:br>
            <a:r>
              <a:rPr lang="ca-ES" sz="1800" dirty="0"/>
              <a:t>Avaluació de preparació Agile</a:t>
            </a:r>
            <a:endParaRPr lang="ca-ES" dirty="0"/>
          </a:p>
        </p:txBody>
      </p:sp>
      <p:sp>
        <p:nvSpPr>
          <p:cNvPr id="66" name="Marcador de contenido 1"/>
          <p:cNvSpPr>
            <a:spLocks noGrp="1"/>
          </p:cNvSpPr>
          <p:nvPr>
            <p:ph idx="1"/>
          </p:nvPr>
        </p:nvSpPr>
        <p:spPr>
          <a:xfrm>
            <a:off x="492123" y="1131868"/>
            <a:ext cx="9064627" cy="1556741"/>
          </a:xfrm>
        </p:spPr>
        <p:txBody>
          <a:bodyPr/>
          <a:lstStyle/>
          <a:p>
            <a:pPr algn="just"/>
            <a:r>
              <a:rPr lang="ca-ES" sz="1600" dirty="0"/>
              <a:t>L’Oficina de Gestió de la Qualitat del CTTI posa a disposició de l’Organització el present model d’avaluació, per a guiar en la decisió d’adoptar tècniques àgils, en el desenvolupament de solucions.</a:t>
            </a:r>
          </a:p>
          <a:p>
            <a:pPr algn="just"/>
            <a:endParaRPr lang="ca-ES" sz="1600" dirty="0"/>
          </a:p>
          <a:p>
            <a:pPr algn="just"/>
            <a:r>
              <a:rPr lang="ca-ES" sz="1600" dirty="0"/>
              <a:t>El procés d’avaluació consisteix en l’execució les següents activitats:</a:t>
            </a:r>
          </a:p>
        </p:txBody>
      </p:sp>
      <p:graphicFrame>
        <p:nvGraphicFramePr>
          <p:cNvPr id="7" name="Diagrama 6"/>
          <p:cNvGraphicFramePr/>
          <p:nvPr/>
        </p:nvGraphicFramePr>
        <p:xfrm>
          <a:off x="943893" y="3026171"/>
          <a:ext cx="8018214" cy="6094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Marcador de contenido 1"/>
          <p:cNvSpPr txBox="1">
            <a:spLocks/>
          </p:cNvSpPr>
          <p:nvPr/>
        </p:nvSpPr>
        <p:spPr>
          <a:xfrm>
            <a:off x="466101" y="4136977"/>
            <a:ext cx="9064627" cy="1556741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Wingdings" panose="05000000000000000000" pitchFamily="2" charset="2"/>
              <a:buNone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just"/>
            <a:r>
              <a:rPr lang="ca-ES" sz="1600" b="0" kern="0" dirty="0"/>
              <a:t>L’objectiu final d’aquesta anàlisi és:</a:t>
            </a:r>
          </a:p>
          <a:p>
            <a:pPr algn="just"/>
            <a:endParaRPr lang="ca-ES" sz="1600" b="0" kern="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a-ES" sz="1600" b="0" kern="0" dirty="0"/>
              <a:t>Identificar àrees de millora en l’enfocament agile de la solució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a-ES" sz="1600" b="0" kern="0" dirty="0"/>
              <a:t>Recomanar accions orientades a mitigar possibles mancances en el plantejament metodològic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a-ES" sz="1600" b="0" kern="0" dirty="0"/>
              <a:t>Proposar si s’escau l’adopció d’altres metodologies quan el context així ho aconselli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0907D57-5986-D29B-47E9-D335EA3BA1D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5551" y="6198120"/>
            <a:ext cx="4452774" cy="521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9966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7FA838A-C26A-4BE1-93FE-2EFE85DC030B}" type="slidenum">
              <a:rPr lang="ca-ES" smtClean="0"/>
              <a:pPr>
                <a:defRPr/>
              </a:pPr>
              <a:t>4</a:t>
            </a:fld>
            <a:endParaRPr lang="ca-ES" dirty="0"/>
          </a:p>
        </p:txBody>
      </p:sp>
      <p:sp>
        <p:nvSpPr>
          <p:cNvPr id="8" name="Título 3"/>
          <p:cNvSpPr>
            <a:spLocks noGrp="1"/>
          </p:cNvSpPr>
          <p:nvPr>
            <p:ph type="title"/>
          </p:nvPr>
        </p:nvSpPr>
        <p:spPr>
          <a:xfrm>
            <a:off x="488975" y="228818"/>
            <a:ext cx="9067775" cy="647700"/>
          </a:xfrm>
        </p:spPr>
        <p:txBody>
          <a:bodyPr/>
          <a:lstStyle/>
          <a:p>
            <a:r>
              <a:rPr lang="ca-ES" dirty="0"/>
              <a:t>2. Anàlisi de la solució</a:t>
            </a:r>
            <a:br>
              <a:rPr lang="ca-ES" dirty="0"/>
            </a:br>
            <a:r>
              <a:rPr lang="ca-ES" sz="1800" dirty="0"/>
              <a:t>Avaluació per àrees</a:t>
            </a:r>
            <a:endParaRPr lang="ca-ES" dirty="0"/>
          </a:p>
        </p:txBody>
      </p:sp>
      <p:sp>
        <p:nvSpPr>
          <p:cNvPr id="66" name="Marcador de contenido 1"/>
          <p:cNvSpPr>
            <a:spLocks noGrp="1"/>
          </p:cNvSpPr>
          <p:nvPr>
            <p:ph idx="1"/>
          </p:nvPr>
        </p:nvSpPr>
        <p:spPr>
          <a:xfrm>
            <a:off x="492123" y="1022490"/>
            <a:ext cx="9064627" cy="1148061"/>
          </a:xfrm>
        </p:spPr>
        <p:txBody>
          <a:bodyPr/>
          <a:lstStyle/>
          <a:p>
            <a:pPr algn="just"/>
            <a:r>
              <a:rPr lang="ca-ES" sz="1600" dirty="0"/>
              <a:t>L’avaluació per àrees estableix una sèrie d’indicadors dividits en sis àmbits de treball, a partir dels quals es mostren els resultats sobre una nota ponderada de 1 a 5.</a:t>
            </a: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3000" y="1648701"/>
            <a:ext cx="9360000" cy="467514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DE94FEC-8555-6888-EDAF-2DE7576665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5552" y="6340312"/>
            <a:ext cx="4452774" cy="521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9029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Imagen 1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3000" y="1659634"/>
            <a:ext cx="9360000" cy="4675150"/>
          </a:xfrm>
          <a:prstGeom prst="rect">
            <a:avLst/>
          </a:prstGeom>
        </p:spPr>
      </p:pic>
      <p:sp>
        <p:nvSpPr>
          <p:cNvPr id="3" name="Marcador de número de diapositiva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7FA838A-C26A-4BE1-93FE-2EFE85DC030B}" type="slidenum">
              <a:rPr lang="ca-ES" smtClean="0"/>
              <a:pPr>
                <a:defRPr/>
              </a:pPr>
              <a:t>5</a:t>
            </a:fld>
            <a:endParaRPr lang="ca-ES" dirty="0"/>
          </a:p>
        </p:txBody>
      </p:sp>
      <p:sp>
        <p:nvSpPr>
          <p:cNvPr id="8" name="Título 3"/>
          <p:cNvSpPr>
            <a:spLocks noGrp="1"/>
          </p:cNvSpPr>
          <p:nvPr>
            <p:ph type="title"/>
          </p:nvPr>
        </p:nvSpPr>
        <p:spPr>
          <a:xfrm>
            <a:off x="488975" y="228818"/>
            <a:ext cx="9067775" cy="647700"/>
          </a:xfrm>
        </p:spPr>
        <p:txBody>
          <a:bodyPr/>
          <a:lstStyle/>
          <a:p>
            <a:r>
              <a:rPr lang="ca-ES" dirty="0"/>
              <a:t>2. Anàlisi de la solució</a:t>
            </a:r>
            <a:br>
              <a:rPr lang="ca-ES" dirty="0"/>
            </a:br>
            <a:r>
              <a:rPr lang="ca-ES" sz="1800" dirty="0"/>
              <a:t>Avaluació per àrees</a:t>
            </a:r>
            <a:endParaRPr lang="ca-ES" dirty="0"/>
          </a:p>
        </p:txBody>
      </p:sp>
      <p:sp>
        <p:nvSpPr>
          <p:cNvPr id="66" name="Marcador de contenido 1"/>
          <p:cNvSpPr>
            <a:spLocks noGrp="1"/>
          </p:cNvSpPr>
          <p:nvPr>
            <p:ph idx="1"/>
          </p:nvPr>
        </p:nvSpPr>
        <p:spPr>
          <a:xfrm>
            <a:off x="492123" y="1055303"/>
            <a:ext cx="8850216" cy="629799"/>
          </a:xfrm>
        </p:spPr>
        <p:txBody>
          <a:bodyPr/>
          <a:lstStyle/>
          <a:p>
            <a:pPr algn="just"/>
            <a:r>
              <a:rPr lang="ca-ES" sz="1600" dirty="0"/>
              <a:t>Com a resultat de l’avaluació obtenim els següents graus d’assoliment dels diferents nivells:</a:t>
            </a: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91603" y="1328575"/>
            <a:ext cx="1441397" cy="186516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35804" y="1337110"/>
            <a:ext cx="1441397" cy="186516"/>
          </a:xfrm>
          <a:prstGeom prst="rect">
            <a:avLst/>
          </a:prstGeom>
        </p:spPr>
      </p:pic>
      <p:sp>
        <p:nvSpPr>
          <p:cNvPr id="4" name="Rectángulo redondeado 3"/>
          <p:cNvSpPr/>
          <p:nvPr/>
        </p:nvSpPr>
        <p:spPr bwMode="auto">
          <a:xfrm rot="20213509">
            <a:off x="2347124" y="3095147"/>
            <a:ext cx="5351476" cy="1804123"/>
          </a:xfrm>
          <a:prstGeom prst="roundRect">
            <a:avLst>
              <a:gd name="adj" fmla="val 10132"/>
            </a:avLst>
          </a:prstGeom>
          <a:ln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a-ES" sz="2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xemple il·lustratiu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ca-ES" dirty="0">
                <a:latin typeface="Arial" charset="0"/>
              </a:rPr>
              <a:t>Cal marcar els nivells assolits com a resultat de l’avaluació</a:t>
            </a:r>
            <a:endParaRPr kumimoji="0" lang="ca-ES" sz="2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0F6ECC2-1B4E-2BA4-E253-A44BFBCC486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4605" y="6340311"/>
            <a:ext cx="4452774" cy="521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89134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4"/>
          </p:nvPr>
        </p:nvSpPr>
        <p:spPr>
          <a:xfrm>
            <a:off x="9460194" y="6579314"/>
            <a:ext cx="430040" cy="268287"/>
          </a:xfrm>
        </p:spPr>
        <p:txBody>
          <a:bodyPr/>
          <a:lstStyle/>
          <a:p>
            <a:pPr>
              <a:defRPr/>
            </a:pPr>
            <a:fld id="{C7FA838A-C26A-4BE1-93FE-2EFE85DC030B}" type="slidenum">
              <a:rPr lang="ca-ES" smtClean="0"/>
              <a:pPr>
                <a:defRPr/>
              </a:pPr>
              <a:t>6</a:t>
            </a:fld>
            <a:endParaRPr lang="ca-ES" dirty="0"/>
          </a:p>
        </p:txBody>
      </p:sp>
      <p:sp>
        <p:nvSpPr>
          <p:cNvPr id="9" name="Título 3"/>
          <p:cNvSpPr>
            <a:spLocks noGrp="1"/>
          </p:cNvSpPr>
          <p:nvPr>
            <p:ph type="title"/>
          </p:nvPr>
        </p:nvSpPr>
        <p:spPr>
          <a:xfrm>
            <a:off x="488975" y="228818"/>
            <a:ext cx="9067775" cy="647700"/>
          </a:xfrm>
        </p:spPr>
        <p:txBody>
          <a:bodyPr/>
          <a:lstStyle/>
          <a:p>
            <a:r>
              <a:rPr lang="ca-ES" dirty="0"/>
              <a:t>3. Conclusions</a:t>
            </a:r>
            <a:br>
              <a:rPr lang="ca-ES" dirty="0"/>
            </a:br>
            <a:r>
              <a:rPr lang="ca-ES" sz="1800" dirty="0"/>
              <a:t>Resultat de l’avaluació</a:t>
            </a:r>
            <a:endParaRPr lang="ca-ES" dirty="0"/>
          </a:p>
        </p:txBody>
      </p:sp>
      <p:sp>
        <p:nvSpPr>
          <p:cNvPr id="65" name="TextBox 19"/>
          <p:cNvSpPr txBox="1"/>
          <p:nvPr/>
        </p:nvSpPr>
        <p:spPr>
          <a:xfrm>
            <a:off x="7821012" y="6154813"/>
            <a:ext cx="1385999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ca-ES" altLang="ko-KR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teratiu</a:t>
            </a:r>
          </a:p>
        </p:txBody>
      </p:sp>
      <p:grpSp>
        <p:nvGrpSpPr>
          <p:cNvPr id="69" name="Group 23"/>
          <p:cNvGrpSpPr/>
          <p:nvPr/>
        </p:nvGrpSpPr>
        <p:grpSpPr>
          <a:xfrm>
            <a:off x="6078053" y="3287184"/>
            <a:ext cx="3293408" cy="3262066"/>
            <a:chOff x="2228466" y="1244261"/>
            <a:chExt cx="3293408" cy="3262066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70" name="Rectangle 24"/>
            <p:cNvSpPr/>
            <p:nvPr/>
          </p:nvSpPr>
          <p:spPr>
            <a:xfrm>
              <a:off x="2435170" y="2804492"/>
              <a:ext cx="2880000" cy="108000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/>
            </a:p>
          </p:txBody>
        </p:sp>
        <p:sp>
          <p:nvSpPr>
            <p:cNvPr id="71" name="Rectangle 25"/>
            <p:cNvSpPr/>
            <p:nvPr/>
          </p:nvSpPr>
          <p:spPr>
            <a:xfrm rot="5400000">
              <a:off x="2435170" y="2805622"/>
              <a:ext cx="2880000" cy="108000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/>
            </a:p>
          </p:txBody>
        </p:sp>
        <p:sp>
          <p:nvSpPr>
            <p:cNvPr id="72" name="Isosceles Triangle 26"/>
            <p:cNvSpPr/>
            <p:nvPr/>
          </p:nvSpPr>
          <p:spPr>
            <a:xfrm>
              <a:off x="3755281" y="1244261"/>
              <a:ext cx="239778" cy="206705"/>
            </a:xfrm>
            <a:prstGeom prst="triangle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73" name="Isosceles Triangle 27"/>
            <p:cNvSpPr/>
            <p:nvPr/>
          </p:nvSpPr>
          <p:spPr>
            <a:xfrm rot="5400000">
              <a:off x="5298633" y="2755140"/>
              <a:ext cx="239778" cy="206705"/>
            </a:xfrm>
            <a:prstGeom prst="triangle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74" name="Isosceles Triangle 28"/>
            <p:cNvSpPr/>
            <p:nvPr/>
          </p:nvSpPr>
          <p:spPr>
            <a:xfrm rot="10800000">
              <a:off x="3755281" y="4299622"/>
              <a:ext cx="239778" cy="206705"/>
            </a:xfrm>
            <a:prstGeom prst="triangle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75" name="Isosceles Triangle 29"/>
            <p:cNvSpPr/>
            <p:nvPr/>
          </p:nvSpPr>
          <p:spPr>
            <a:xfrm rot="16200000">
              <a:off x="2211930" y="2755140"/>
              <a:ext cx="239778" cy="206705"/>
            </a:xfrm>
            <a:prstGeom prst="triangle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2"/>
          <a:srcRect l="17733" r="16353"/>
          <a:stretch/>
        </p:blipFill>
        <p:spPr>
          <a:xfrm>
            <a:off x="6454385" y="5086194"/>
            <a:ext cx="1074741" cy="1080000"/>
          </a:xfrm>
          <a:prstGeom prst="rect">
            <a:avLst/>
          </a:prstGeom>
        </p:spPr>
      </p:pic>
      <p:pic>
        <p:nvPicPr>
          <p:cNvPr id="111620" name="Picture 4" descr="Imagen relacionada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446" r="16604"/>
          <a:stretch/>
        </p:blipFill>
        <p:spPr bwMode="auto">
          <a:xfrm>
            <a:off x="7972435" y="3632291"/>
            <a:ext cx="1075324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9" name="Grupo 108"/>
          <p:cNvGrpSpPr/>
          <p:nvPr/>
        </p:nvGrpSpPr>
        <p:grpSpPr>
          <a:xfrm>
            <a:off x="6454385" y="3636274"/>
            <a:ext cx="1080000" cy="1080000"/>
            <a:chOff x="8155784" y="4608970"/>
            <a:chExt cx="1080000" cy="1080000"/>
          </a:xfrm>
        </p:grpSpPr>
        <p:grpSp>
          <p:nvGrpSpPr>
            <p:cNvPr id="87" name="Grupo 86"/>
            <p:cNvGrpSpPr/>
            <p:nvPr/>
          </p:nvGrpSpPr>
          <p:grpSpPr>
            <a:xfrm>
              <a:off x="8155784" y="4608970"/>
              <a:ext cx="1080000" cy="1080000"/>
              <a:chOff x="6102142" y="4846327"/>
              <a:chExt cx="1080000" cy="1080000"/>
            </a:xfrm>
          </p:grpSpPr>
          <p:sp>
            <p:nvSpPr>
              <p:cNvPr id="82" name="Elipse 81"/>
              <p:cNvSpPr/>
              <p:nvPr/>
            </p:nvSpPr>
            <p:spPr bwMode="auto">
              <a:xfrm>
                <a:off x="6102142" y="4846327"/>
                <a:ext cx="1080000" cy="1080000"/>
              </a:xfrm>
              <a:prstGeom prst="ellipse">
                <a:avLst/>
              </a:prstGeom>
              <a:solidFill>
                <a:srgbClr val="0767B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s-ES" sz="2200" b="1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95" name="Elipse 94"/>
              <p:cNvSpPr/>
              <p:nvPr/>
            </p:nvSpPr>
            <p:spPr bwMode="auto">
              <a:xfrm>
                <a:off x="6138142" y="4882327"/>
                <a:ext cx="1008000" cy="1008000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s-ES" sz="2200" b="1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</p:grpSp>
        <p:grpSp>
          <p:nvGrpSpPr>
            <p:cNvPr id="111631" name="Grupo 111630"/>
            <p:cNvGrpSpPr/>
            <p:nvPr/>
          </p:nvGrpSpPr>
          <p:grpSpPr>
            <a:xfrm>
              <a:off x="8481923" y="4960062"/>
              <a:ext cx="427723" cy="360725"/>
              <a:chOff x="6357938" y="4375582"/>
              <a:chExt cx="427723" cy="360725"/>
            </a:xfrm>
          </p:grpSpPr>
          <p:sp>
            <p:nvSpPr>
              <p:cNvPr id="111629" name="Rectángulo redondeado 111628"/>
              <p:cNvSpPr/>
              <p:nvPr/>
            </p:nvSpPr>
            <p:spPr bwMode="auto">
              <a:xfrm>
                <a:off x="6357938" y="4585779"/>
                <a:ext cx="89896" cy="150528"/>
              </a:xfrm>
              <a:prstGeom prst="roundRect">
                <a:avLst/>
              </a:prstGeom>
              <a:solidFill>
                <a:srgbClr val="0767B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s-ES" sz="2200" b="1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116" name="Rectángulo redondeado 115"/>
              <p:cNvSpPr/>
              <p:nvPr/>
            </p:nvSpPr>
            <p:spPr bwMode="auto">
              <a:xfrm>
                <a:off x="6470547" y="4517232"/>
                <a:ext cx="89896" cy="219075"/>
              </a:xfrm>
              <a:prstGeom prst="roundRect">
                <a:avLst/>
              </a:prstGeom>
              <a:solidFill>
                <a:srgbClr val="0767B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s-ES" sz="2200" b="1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117" name="Rectángulo redondeado 116"/>
              <p:cNvSpPr/>
              <p:nvPr/>
            </p:nvSpPr>
            <p:spPr bwMode="auto">
              <a:xfrm>
                <a:off x="6583156" y="4445795"/>
                <a:ext cx="89896" cy="290512"/>
              </a:xfrm>
              <a:prstGeom prst="roundRect">
                <a:avLst/>
              </a:prstGeom>
              <a:solidFill>
                <a:srgbClr val="0767B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s-ES" sz="2200" b="1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118" name="Rectángulo redondeado 117"/>
              <p:cNvSpPr/>
              <p:nvPr/>
            </p:nvSpPr>
            <p:spPr bwMode="auto">
              <a:xfrm>
                <a:off x="6695765" y="4375582"/>
                <a:ext cx="89896" cy="360725"/>
              </a:xfrm>
              <a:prstGeom prst="roundRect">
                <a:avLst/>
              </a:prstGeom>
              <a:solidFill>
                <a:srgbClr val="0767B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s-ES" sz="2200" b="1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</p:grpSp>
      </p:grpSp>
      <p:grpSp>
        <p:nvGrpSpPr>
          <p:cNvPr id="110" name="Grupo 109"/>
          <p:cNvGrpSpPr/>
          <p:nvPr/>
        </p:nvGrpSpPr>
        <p:grpSpPr>
          <a:xfrm>
            <a:off x="7987938" y="5114041"/>
            <a:ext cx="1080000" cy="1080000"/>
            <a:chOff x="6669217" y="3145219"/>
            <a:chExt cx="1080000" cy="1080000"/>
          </a:xfrm>
        </p:grpSpPr>
        <p:grpSp>
          <p:nvGrpSpPr>
            <p:cNvPr id="97" name="Grupo 96"/>
            <p:cNvGrpSpPr/>
            <p:nvPr/>
          </p:nvGrpSpPr>
          <p:grpSpPr>
            <a:xfrm>
              <a:off x="6669217" y="3145219"/>
              <a:ext cx="1080000" cy="1080000"/>
              <a:chOff x="6102142" y="4846327"/>
              <a:chExt cx="1080000" cy="1080000"/>
            </a:xfrm>
          </p:grpSpPr>
          <p:sp>
            <p:nvSpPr>
              <p:cNvPr id="98" name="Elipse 97"/>
              <p:cNvSpPr/>
              <p:nvPr/>
            </p:nvSpPr>
            <p:spPr bwMode="auto">
              <a:xfrm>
                <a:off x="6102142" y="4846327"/>
                <a:ext cx="1080000" cy="1080000"/>
              </a:xfrm>
              <a:prstGeom prst="ellipse">
                <a:avLst/>
              </a:prstGeom>
              <a:solidFill>
                <a:srgbClr val="0767B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s-ES" sz="2200" b="1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99" name="Elipse 98"/>
              <p:cNvSpPr/>
              <p:nvPr/>
            </p:nvSpPr>
            <p:spPr bwMode="auto">
              <a:xfrm>
                <a:off x="6138142" y="4882327"/>
                <a:ext cx="1008000" cy="1008000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s-ES" sz="2200" b="1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</p:grpSp>
        <p:pic>
          <p:nvPicPr>
            <p:cNvPr id="108" name="Imagen 10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1542996">
              <a:off x="6790493" y="3360364"/>
              <a:ext cx="823321" cy="650267"/>
            </a:xfrm>
            <a:prstGeom prst="rect">
              <a:avLst/>
            </a:prstGeom>
          </p:spPr>
        </p:pic>
      </p:grpSp>
      <p:sp>
        <p:nvSpPr>
          <p:cNvPr id="151" name="TextBox 19"/>
          <p:cNvSpPr txBox="1"/>
          <p:nvPr/>
        </p:nvSpPr>
        <p:spPr>
          <a:xfrm>
            <a:off x="7778757" y="3269153"/>
            <a:ext cx="1386000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ca-ES" altLang="ko-KR" sz="1200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Àgil</a:t>
            </a:r>
            <a:endParaRPr lang="ca-ES" altLang="ko-KR" sz="1200" b="1" dirty="0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</p:txBody>
      </p:sp>
      <p:sp>
        <p:nvSpPr>
          <p:cNvPr id="152" name="TextBox 19"/>
          <p:cNvSpPr txBox="1"/>
          <p:nvPr/>
        </p:nvSpPr>
        <p:spPr>
          <a:xfrm>
            <a:off x="6284758" y="6154813"/>
            <a:ext cx="1385999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ca-ES" altLang="ko-KR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ascada</a:t>
            </a:r>
          </a:p>
        </p:txBody>
      </p:sp>
      <p:sp>
        <p:nvSpPr>
          <p:cNvPr id="153" name="TextBox 19"/>
          <p:cNvSpPr txBox="1"/>
          <p:nvPr/>
        </p:nvSpPr>
        <p:spPr>
          <a:xfrm>
            <a:off x="6197813" y="3269152"/>
            <a:ext cx="1386000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ca-ES" altLang="ko-KR" sz="1200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cremental</a:t>
            </a:r>
            <a:endParaRPr lang="ca-ES" altLang="ko-KR" sz="1200" b="1" dirty="0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</p:txBody>
      </p:sp>
      <p:sp>
        <p:nvSpPr>
          <p:cNvPr id="111" name="Rectángulo redondeado 110"/>
          <p:cNvSpPr/>
          <p:nvPr/>
        </p:nvSpPr>
        <p:spPr bwMode="auto">
          <a:xfrm>
            <a:off x="7869808" y="4971150"/>
            <a:ext cx="1297420" cy="1510349"/>
          </a:xfrm>
          <a:prstGeom prst="roundRect">
            <a:avLst/>
          </a:prstGeom>
          <a:noFill/>
          <a:ln w="3175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sz="22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2" name="CuadroTexto 111"/>
          <p:cNvSpPr txBox="1"/>
          <p:nvPr/>
        </p:nvSpPr>
        <p:spPr>
          <a:xfrm>
            <a:off x="7928378" y="2756379"/>
            <a:ext cx="13320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 indent="-85725">
              <a:spcBef>
                <a:spcPts val="0"/>
              </a:spcBef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ca-ES" sz="600" dirty="0"/>
              <a:t>Desenvolupament iteratiu</a:t>
            </a:r>
          </a:p>
          <a:p>
            <a:pPr marL="85725" indent="-85725">
              <a:spcBef>
                <a:spcPts val="0"/>
              </a:spcBef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ca-ES" sz="600" dirty="0"/>
              <a:t>Increments de producte</a:t>
            </a:r>
          </a:p>
          <a:p>
            <a:pPr marL="85725" indent="-85725">
              <a:spcBef>
                <a:spcPts val="0"/>
              </a:spcBef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ca-ES" sz="600" dirty="0"/>
              <a:t>Entrega freqüent</a:t>
            </a:r>
          </a:p>
          <a:p>
            <a:pPr marL="85725" indent="-85725">
              <a:spcBef>
                <a:spcPts val="0"/>
              </a:spcBef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ca-ES" sz="600" dirty="0"/>
              <a:t>Equips àgils</a:t>
            </a:r>
          </a:p>
          <a:p>
            <a:pPr marL="85725" indent="-85725">
              <a:spcBef>
                <a:spcPts val="0"/>
              </a:spcBef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ca-ES" sz="600" dirty="0"/>
              <a:t>Excel·lència tècnica</a:t>
            </a:r>
          </a:p>
        </p:txBody>
      </p:sp>
      <p:sp>
        <p:nvSpPr>
          <p:cNvPr id="164" name="CuadroTexto 163"/>
          <p:cNvSpPr txBox="1"/>
          <p:nvPr/>
        </p:nvSpPr>
        <p:spPr>
          <a:xfrm>
            <a:off x="7928378" y="6506411"/>
            <a:ext cx="13320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 indent="-85725">
              <a:spcBef>
                <a:spcPts val="0"/>
              </a:spcBef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ca-ES" sz="600" dirty="0"/>
              <a:t>Desenvolupament iteratiu</a:t>
            </a:r>
          </a:p>
        </p:txBody>
      </p:sp>
      <p:sp>
        <p:nvSpPr>
          <p:cNvPr id="165" name="CuadroTexto 164"/>
          <p:cNvSpPr txBox="1"/>
          <p:nvPr/>
        </p:nvSpPr>
        <p:spPr>
          <a:xfrm>
            <a:off x="6322650" y="2756379"/>
            <a:ext cx="1332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 indent="-85725">
              <a:spcBef>
                <a:spcPts val="0"/>
              </a:spcBef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ca-ES" sz="600" dirty="0"/>
              <a:t>Desenvolupament iteratiu</a:t>
            </a:r>
          </a:p>
          <a:p>
            <a:pPr marL="85725" indent="-85725">
              <a:spcBef>
                <a:spcPts val="0"/>
              </a:spcBef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ca-ES" sz="600" dirty="0"/>
              <a:t>Increments de producte</a:t>
            </a:r>
          </a:p>
        </p:txBody>
      </p:sp>
      <p:sp>
        <p:nvSpPr>
          <p:cNvPr id="166" name="Marcador de contenido 1"/>
          <p:cNvSpPr txBox="1">
            <a:spLocks/>
          </p:cNvSpPr>
          <p:nvPr/>
        </p:nvSpPr>
        <p:spPr>
          <a:xfrm>
            <a:off x="488975" y="3058343"/>
            <a:ext cx="5228161" cy="1467234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Wingdings" panose="05000000000000000000" pitchFamily="2" charset="2"/>
              <a:buNone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just" defTabSz="717550">
              <a:spcAft>
                <a:spcPts val="600"/>
              </a:spcAft>
              <a:tabLst>
                <a:tab pos="538163" algn="l"/>
              </a:tabLst>
            </a:pPr>
            <a:r>
              <a:rPr lang="ca-ES" sz="1400" kern="0" dirty="0">
                <a:solidFill>
                  <a:srgbClr val="C00000"/>
                </a:solidFill>
              </a:rPr>
              <a:t>	Mínims no coberts (factors crítics):</a:t>
            </a:r>
            <a:endParaRPr lang="ca-ES" sz="1400" b="0" kern="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a-ES" u="sng" kern="0" dirty="0"/>
              <a:t>Procés</a:t>
            </a:r>
            <a:r>
              <a:rPr lang="ca-ES" b="0" kern="0" dirty="0"/>
              <a:t>: No s’ha planificat un calendari de versions a producció, amb entregues freqüents, en períodes no superiors a 3 mesos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a-ES" u="sng" kern="0" dirty="0"/>
              <a:t>Producte</a:t>
            </a:r>
            <a:r>
              <a:rPr lang="ca-ES" b="0" kern="0" dirty="0"/>
              <a:t>: Les iteracions planificades, no tenen com a objectiu oferir un increment de valor, sinó parts de la funcionalitat que no completen el flux d’extrem a extrem.</a:t>
            </a:r>
            <a:endParaRPr lang="ca-ES" sz="1400" b="0" kern="0" dirty="0"/>
          </a:p>
        </p:txBody>
      </p:sp>
      <p:sp>
        <p:nvSpPr>
          <p:cNvPr id="168" name="Marcador de contenido 1"/>
          <p:cNvSpPr txBox="1">
            <a:spLocks/>
          </p:cNvSpPr>
          <p:nvPr/>
        </p:nvSpPr>
        <p:spPr>
          <a:xfrm>
            <a:off x="492123" y="4767681"/>
            <a:ext cx="5225013" cy="1556741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Wingdings" panose="05000000000000000000" pitchFamily="2" charset="2"/>
              <a:buNone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just" defTabSz="717550">
              <a:spcAft>
                <a:spcPts val="600"/>
              </a:spcAft>
              <a:tabLst>
                <a:tab pos="538163" algn="l"/>
              </a:tabLst>
            </a:pPr>
            <a:r>
              <a:rPr lang="ca-ES" sz="1400" kern="0" dirty="0">
                <a:solidFill>
                  <a:srgbClr val="C00000"/>
                </a:solidFill>
              </a:rPr>
              <a:t>	Altres àmbits de millora (recomanacions)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a-ES" u="sng" kern="0" dirty="0"/>
              <a:t>Procés</a:t>
            </a:r>
            <a:r>
              <a:rPr lang="ca-ES" b="0" kern="0" dirty="0"/>
              <a:t>: Es recomana incorporar de forma progressiva l’automatització de test unitaris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a-ES" u="sng" kern="0" dirty="0"/>
              <a:t>Equip proveïdor</a:t>
            </a:r>
            <a:r>
              <a:rPr lang="ca-ES" b="0" kern="0" dirty="0"/>
              <a:t>: Reduir les dependències internes evitant al màxim els perfils "especialistes“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a-ES" u="sng" kern="0" dirty="0"/>
              <a:t>Equip client</a:t>
            </a:r>
            <a:r>
              <a:rPr lang="ca-ES" b="0" kern="0" dirty="0"/>
              <a:t>: Fomentar la transparència entre l'equip </a:t>
            </a:r>
            <a:r>
              <a:rPr lang="ca-ES" b="0" kern="0" dirty="0" err="1"/>
              <a:t>scrum</a:t>
            </a:r>
            <a:r>
              <a:rPr lang="ca-ES" b="0" kern="0" dirty="0"/>
              <a:t> i el Proxy </a:t>
            </a:r>
            <a:r>
              <a:rPr lang="ca-ES" b="0" kern="0" dirty="0" err="1"/>
              <a:t>Product</a:t>
            </a:r>
            <a:r>
              <a:rPr lang="ca-ES" b="0" kern="0" dirty="0"/>
              <a:t> </a:t>
            </a:r>
            <a:r>
              <a:rPr lang="ca-ES" b="0" kern="0" dirty="0" err="1"/>
              <a:t>Owner</a:t>
            </a:r>
            <a:r>
              <a:rPr lang="ca-ES" b="0" kern="0" dirty="0"/>
              <a:t> com a representant del PO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ca-ES" sz="1400" b="0" kern="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ca-ES" sz="1400" b="0" kern="0" dirty="0"/>
          </a:p>
          <a:p>
            <a:pPr algn="just"/>
            <a:endParaRPr lang="ca-ES" sz="1400" b="0" kern="0" dirty="0"/>
          </a:p>
        </p:txBody>
      </p:sp>
      <p:pic>
        <p:nvPicPr>
          <p:cNvPr id="169" name="Picture 2" descr="http://secundaria.zac.itesm.mx/tmp/images/mini_icon3.pn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135" r="6024" b="45539"/>
          <a:stretch/>
        </p:blipFill>
        <p:spPr bwMode="auto">
          <a:xfrm>
            <a:off x="505731" y="3017221"/>
            <a:ext cx="360000" cy="3535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0" name="Picture 2" descr="http://secundaria.zac.itesm.mx/tmp/images/mini_icon3.pn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624" r="37616" b="45218"/>
          <a:stretch/>
        </p:blipFill>
        <p:spPr bwMode="auto">
          <a:xfrm>
            <a:off x="505731" y="4713584"/>
            <a:ext cx="360000" cy="384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Marcador de contenido 1"/>
          <p:cNvSpPr>
            <a:spLocks noGrp="1"/>
          </p:cNvSpPr>
          <p:nvPr>
            <p:ph idx="1"/>
          </p:nvPr>
        </p:nvSpPr>
        <p:spPr>
          <a:xfrm>
            <a:off x="492123" y="1131869"/>
            <a:ext cx="8968071" cy="1643248"/>
          </a:xfrm>
        </p:spPr>
        <p:txBody>
          <a:bodyPr/>
          <a:lstStyle/>
          <a:p>
            <a:pPr algn="just">
              <a:spcAft>
                <a:spcPts val="600"/>
              </a:spcAft>
            </a:pPr>
            <a:r>
              <a:rPr lang="ca-ES" sz="1400" dirty="0"/>
              <a:t>Els resultats obtinguts descriuen un </a:t>
            </a:r>
            <a:r>
              <a:rPr lang="ca-ES" sz="1400" b="1" dirty="0"/>
              <a:t>model de gestió de projecte iteratiu</a:t>
            </a:r>
            <a:r>
              <a:rPr lang="ca-ES" sz="1400" dirty="0"/>
              <a:t>.</a:t>
            </a:r>
          </a:p>
          <a:p>
            <a:pPr algn="just">
              <a:spcAft>
                <a:spcPts val="600"/>
              </a:spcAft>
            </a:pPr>
            <a:r>
              <a:rPr lang="ca-ES" sz="1400" dirty="0"/>
              <a:t>Els nivells assolits en les àrees </a:t>
            </a:r>
            <a:r>
              <a:rPr lang="ca-ES" sz="1400" b="1" dirty="0"/>
              <a:t>Iniciativa</a:t>
            </a:r>
            <a:r>
              <a:rPr lang="ca-ES" sz="1400" dirty="0"/>
              <a:t> (nivell 3), </a:t>
            </a:r>
            <a:r>
              <a:rPr lang="ca-ES" sz="1400" b="1" dirty="0"/>
              <a:t>Equip proveïdor</a:t>
            </a:r>
            <a:r>
              <a:rPr lang="ca-ES" sz="1400" dirty="0"/>
              <a:t> (nivell 3 o 4 no consolidat), </a:t>
            </a:r>
            <a:r>
              <a:rPr lang="ca-ES" sz="1400" b="1" dirty="0"/>
              <a:t>Equip client</a:t>
            </a:r>
            <a:r>
              <a:rPr lang="ca-ES" sz="1400" dirty="0"/>
              <a:t> (nivell 3) mostren que el punt de partida per a iniciar el projecte, és l’adequat en aquests apartats.</a:t>
            </a:r>
          </a:p>
          <a:p>
            <a:pPr algn="just">
              <a:spcAft>
                <a:spcPts val="600"/>
              </a:spcAft>
            </a:pPr>
            <a:r>
              <a:rPr lang="ca-ES" sz="1400" dirty="0"/>
              <a:t>Per contra, l’enfocament del projecte en els àmbits de </a:t>
            </a:r>
            <a:r>
              <a:rPr lang="ca-ES" sz="1400" b="1" dirty="0"/>
              <a:t>Producte</a:t>
            </a:r>
            <a:r>
              <a:rPr lang="ca-ES" sz="1400" dirty="0"/>
              <a:t> (nivell 1), </a:t>
            </a:r>
            <a:r>
              <a:rPr lang="ca-ES" sz="1400" b="1" dirty="0"/>
              <a:t>Procés</a:t>
            </a:r>
            <a:r>
              <a:rPr lang="ca-ES" sz="1400" dirty="0"/>
              <a:t> (nivell 1), </a:t>
            </a:r>
            <a:r>
              <a:rPr lang="ca-ES" sz="1400" b="1" dirty="0"/>
              <a:t>Eines</a:t>
            </a:r>
            <a:r>
              <a:rPr lang="ca-ES" sz="1400" dirty="0"/>
              <a:t> (nivell 1 no consolidat), reflecteix algunes carències, que en el cas de </a:t>
            </a:r>
            <a:r>
              <a:rPr lang="ca-ES" sz="1400" b="1" dirty="0"/>
              <a:t>Procés</a:t>
            </a:r>
            <a:r>
              <a:rPr lang="ca-ES" sz="1400" dirty="0"/>
              <a:t> i </a:t>
            </a:r>
            <a:r>
              <a:rPr lang="ca-ES" sz="1400" b="1" dirty="0"/>
              <a:t>Producte</a:t>
            </a:r>
            <a:r>
              <a:rPr lang="ca-ES" sz="1400" dirty="0"/>
              <a:t>, es consideren factors crítics per a considerar un projecte àgil.</a:t>
            </a:r>
          </a:p>
        </p:txBody>
      </p:sp>
      <p:sp>
        <p:nvSpPr>
          <p:cNvPr id="40" name="Rectángulo redondeado 39"/>
          <p:cNvSpPr/>
          <p:nvPr/>
        </p:nvSpPr>
        <p:spPr bwMode="auto">
          <a:xfrm rot="20213509">
            <a:off x="1634784" y="2921809"/>
            <a:ext cx="6682746" cy="1500929"/>
          </a:xfrm>
          <a:prstGeom prst="roundRect">
            <a:avLst>
              <a:gd name="adj" fmla="val 10132"/>
            </a:avLst>
          </a:prstGeom>
          <a:ln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a-ES" sz="2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xemple il·lustratiu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ca-ES" dirty="0">
                <a:latin typeface="Arial" charset="0"/>
              </a:rPr>
              <a:t>En aquest apartat es mostren les conclusions i recomanacions de l’avaluació</a:t>
            </a:r>
            <a:endParaRPr kumimoji="0" lang="ca-ES" sz="2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FDD2255-C5F5-37AC-F9D6-2F777885DAE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5551" y="6351249"/>
            <a:ext cx="4452774" cy="521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37266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7FA838A-C26A-4BE1-93FE-2EFE85DC030B}" type="slidenum">
              <a:rPr lang="ca-ES" smtClean="0"/>
              <a:pPr>
                <a:defRPr/>
              </a:pPr>
              <a:t>7</a:t>
            </a:fld>
            <a:endParaRPr lang="ca-ES" dirty="0"/>
          </a:p>
        </p:txBody>
      </p:sp>
      <p:sp>
        <p:nvSpPr>
          <p:cNvPr id="9" name="Título 3"/>
          <p:cNvSpPr>
            <a:spLocks noGrp="1"/>
          </p:cNvSpPr>
          <p:nvPr>
            <p:ph type="title"/>
          </p:nvPr>
        </p:nvSpPr>
        <p:spPr>
          <a:xfrm>
            <a:off x="488975" y="228818"/>
            <a:ext cx="9067775" cy="647700"/>
          </a:xfrm>
        </p:spPr>
        <p:txBody>
          <a:bodyPr/>
          <a:lstStyle/>
          <a:p>
            <a:r>
              <a:rPr lang="ca-ES" dirty="0"/>
              <a:t>3. Annex</a:t>
            </a:r>
            <a:br>
              <a:rPr lang="ca-ES" dirty="0"/>
            </a:br>
            <a:r>
              <a:rPr lang="ca-ES" sz="1800" dirty="0"/>
              <a:t>Checklist d'avaluació</a:t>
            </a:r>
            <a:endParaRPr lang="ca-ES" dirty="0"/>
          </a:p>
        </p:txBody>
      </p:sp>
      <p:sp>
        <p:nvSpPr>
          <p:cNvPr id="6" name="Marcador de contenido 1"/>
          <p:cNvSpPr>
            <a:spLocks noGrp="1"/>
          </p:cNvSpPr>
          <p:nvPr>
            <p:ph idx="1"/>
          </p:nvPr>
        </p:nvSpPr>
        <p:spPr>
          <a:xfrm>
            <a:off x="492123" y="1131869"/>
            <a:ext cx="9064627" cy="1132768"/>
          </a:xfrm>
        </p:spPr>
        <p:txBody>
          <a:bodyPr/>
          <a:lstStyle/>
          <a:p>
            <a:pPr algn="just"/>
            <a:r>
              <a:rPr lang="ca-ES" sz="1600" dirty="0"/>
              <a:t>S'adjunta la </a:t>
            </a:r>
            <a:r>
              <a:rPr lang="ca-ES" sz="1600" dirty="0" err="1"/>
              <a:t>checklist</a:t>
            </a:r>
            <a:r>
              <a:rPr lang="ca-ES" sz="1600" dirty="0"/>
              <a:t> utilitzada en l'avaluació del projecte de </a:t>
            </a:r>
            <a:r>
              <a:rPr lang="ca-ES" sz="1600" b="1" dirty="0"/>
              <a:t>&lt;nom de la solució&gt;</a:t>
            </a:r>
            <a:r>
              <a:rPr lang="ca-ES" sz="1600" dirty="0"/>
              <a:t>, amb les valoracions, puntuacions i pesos aplicats en aquest estudi.</a:t>
            </a:r>
          </a:p>
        </p:txBody>
      </p:sp>
      <p:graphicFrame>
        <p:nvGraphicFramePr>
          <p:cNvPr id="4" name="Objeto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58607100"/>
              </p:ext>
            </p:extLst>
          </p:nvPr>
        </p:nvGraphicFramePr>
        <p:xfrm>
          <a:off x="4293927" y="2519988"/>
          <a:ext cx="1318146" cy="11121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showAsIcon="1" r:id="rId2" imgW="914400" imgH="771480" progId="Excel.Sheet.12">
                  <p:embed/>
                </p:oleObj>
              </mc:Choice>
              <mc:Fallback>
                <p:oleObj name="Worksheet" showAsIcon="1" r:id="rId2" imgW="914400" imgH="7714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4293927" y="2519988"/>
                        <a:ext cx="1318146" cy="11121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E165C649-B23B-5B2C-7403-23AE352A62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5551" y="6198120"/>
            <a:ext cx="4452774" cy="521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55585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8" descr="http://www.gencat.cat/piv/descarregues/arxius/dpt/COLOR/Empresa/ctti_h3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8313" y="908050"/>
            <a:ext cx="3738562" cy="64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808FC30-6BC8-90D5-9296-26EB45E592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5551" y="6198120"/>
            <a:ext cx="4452774" cy="521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62018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3045&quot;&gt;&lt;version val=&quot;2514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%6/%y&lt;/m_strFormatTime&gt;&lt;m_yearfmt&gt;&lt;begin val=&quot;4&quot;/&gt;&lt;end val=&quot;4&quot;/&gt;&lt;/m_yearfmt&gt;&lt;/m_precDefaultQuarter&gt;&lt;m_precDefaultMonth&gt;&lt;m_bNumberIsYear val=&quot;0&quot;/&gt;&lt;m_strFormatTime&gt;%B&lt;/m_strFormatTime&gt;&lt;m_yearfmt&gt;&lt;begin val=&quot;0&quot;/&gt;&lt;end val=&quot;4&quot;/&gt;&lt;/m_yearfmt&gt;&lt;/m_precDefaultMonth&gt;&lt;m_precDefaultWeek&gt;&lt;m_bNumberIsYear val=&quot;0&quot;/&gt;&lt;m_strFormatTime&gt;%d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0&quot;&gt;&lt;elem m_fUsage=&quot;4.85751043468166532335E+00&quot;&gt;&lt;m_msothmcolidx val=&quot;0&quot;/&gt;&lt;m_rgb r=&quot;6C&quot; g=&quot;00&quot; b=&quot;00&quot;/&gt;&lt;m_nBrightness val=&quot;0&quot;/&gt;&lt;/elem&gt;&lt;elem m_fUsage=&quot;3.15381599332700224281E+00&quot;&gt;&lt;m_msothmcolidx val=&quot;0&quot;/&gt;&lt;m_rgb r=&quot;FF&quot; g=&quot;66&quot; b=&quot;00&quot;/&gt;&lt;m_nBrightness val=&quot;0&quot;/&gt;&lt;/elem&gt;&lt;elem m_fUsage=&quot;6.44911930841389646751E-01&quot;&gt;&lt;m_msothmcolidx val=&quot;0&quot;/&gt;&lt;m_rgb r=&quot;FF&quot; g=&quot;CA&quot; b=&quot;CA&quot;/&gt;&lt;m_nBrightness val=&quot;0&quot;/&gt;&lt;/elem&gt;&lt;elem m_fUsage=&quot;6.33293959135384443293E-01&quot;&gt;&lt;m_msothmcolidx val=&quot;0&quot;/&gt;&lt;m_rgb r=&quot;FF&quot; g=&quot;C0&quot; b=&quot;00&quot;/&gt;&lt;m_nBrightness val=&quot;0&quot;/&gt;&lt;/elem&gt;&lt;elem m_fUsage=&quot;4.30467210000000155556E-01&quot;&gt;&lt;m_msothmcolidx val=&quot;0&quot;/&gt;&lt;m_rgb r=&quot;EF&quot; g=&quot;EF&quot; b=&quot;EF&quot;/&gt;&lt;m_nBrightness val=&quot;0&quot;/&gt;&lt;/elem&gt;&lt;elem m_fUsage=&quot;8.55026633352550524680E-02&quot;&gt;&lt;m_msothmcolidx val=&quot;0&quot;/&gt;&lt;m_rgb r=&quot;96&quot; g=&quot;0F&quot; b=&quot;68&quot;/&gt;&lt;m_nBrightness val=&quot;0&quot;/&gt;&lt;/elem&gt;&lt;elem m_fUsage=&quot;6.72235604641365502854E-02&quot;&gt;&lt;m_msothmcolidx val=&quot;0&quot;/&gt;&lt;m_rgb r=&quot;9A&quot; g=&quot;AE&quot; b=&quot;04&quot;/&gt;&lt;m_nBrightness val=&quot;0&quot;/&gt;&lt;/elem&gt;&lt;elem m_fUsage=&quot;4.52216929378456700128E-02&quot;&gt;&lt;m_msothmcolidx val=&quot;0&quot;/&gt;&lt;m_rgb r=&quot;19&quot; g=&quot;94&quot; b=&quot;A4&quot;/&gt;&lt;m_nBrightness val=&quot;0&quot;/&gt;&lt;/elem&gt;&lt;elem m_fUsage=&quot;9.69773729787524671475E-03&quot;&gt;&lt;m_msothmcolidx val=&quot;0&quot;/&gt;&lt;m_rgb r=&quot;00&quot; g=&quot;70&quot; b=&quot;C0&quot;/&gt;&lt;m_nBrightness val=&quot;0&quot;/&gt;&lt;/elem&gt;&lt;elem m_fUsage=&quot;8.72796356808772273717E-03&quot;&gt;&lt;m_msothmcolidx val=&quot;0&quot;/&gt;&lt;m_rgb r=&quot;70&quot; g=&quot;C0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705_Diagnòstic i pla d'acció_v02">
  <a:themeElements>
    <a:clrScheme name="presentacio_departament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800000"/>
      </a:accent1>
      <a:accent2>
        <a:srgbClr val="990033"/>
      </a:accent2>
      <a:accent3>
        <a:srgbClr val="FFFFFF"/>
      </a:accent3>
      <a:accent4>
        <a:srgbClr val="000000"/>
      </a:accent4>
      <a:accent5>
        <a:srgbClr val="C0AAAA"/>
      </a:accent5>
      <a:accent6>
        <a:srgbClr val="8A002D"/>
      </a:accent6>
      <a:hlink>
        <a:srgbClr val="FF0000"/>
      </a:hlink>
      <a:folHlink>
        <a:srgbClr val="99CC00"/>
      </a:folHlink>
    </a:clrScheme>
    <a:fontScheme name="Clásico de Offic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ca-ES" sz="2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ca-ES" sz="2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resentacio_departamen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o_departamen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o_departamen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o_departamen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o_departamen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o_departamen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o_departamen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o_departamen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o_departamen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o_departamen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o_departamen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o_departamen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o_departament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00000"/>
        </a:accent1>
        <a:accent2>
          <a:srgbClr val="990033"/>
        </a:accent2>
        <a:accent3>
          <a:srgbClr val="FFFFFF"/>
        </a:accent3>
        <a:accent4>
          <a:srgbClr val="000000"/>
        </a:accent4>
        <a:accent5>
          <a:srgbClr val="C0AAAA"/>
        </a:accent5>
        <a:accent6>
          <a:srgbClr val="8A002D"/>
        </a:accent6>
        <a:hlink>
          <a:srgbClr val="FF000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ción2" id="{C021B5DE-4648-421D-A843-20344820A9AB}" vid="{0F2C4CDC-0A0D-4823-9DB9-7AA2E77913D7}"/>
    </a:ext>
  </a:extLst>
</a:theme>
</file>

<file path=ppt/theme/theme2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81D76E832727C4896DCD041F45075EB" ma:contentTypeVersion="17" ma:contentTypeDescription="Crea un document nou" ma:contentTypeScope="" ma:versionID="6f0b55f2bf509e31914932b4dcf0864d">
  <xsd:schema xmlns:xsd="http://www.w3.org/2001/XMLSchema" xmlns:xs="http://www.w3.org/2001/XMLSchema" xmlns:p="http://schemas.microsoft.com/office/2006/metadata/properties" xmlns:ns2="1ef81f19-cf85-4969-882d-e6a4ea0150e1" xmlns:ns3="c07a89e8-4733-4b5d-8b8a-f94b86cdb07b" targetNamespace="http://schemas.microsoft.com/office/2006/metadata/properties" ma:root="true" ma:fieldsID="463336593e8bf96279ac8e763b659bf7" ns2:_="" ns3:_="">
    <xsd:import namespace="1ef81f19-cf85-4969-882d-e6a4ea0150e1"/>
    <xsd:import namespace="c07a89e8-4733-4b5d-8b8a-f94b86cdb07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ef81f19-cf85-4969-882d-e6a4ea0150e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Etiquetes de la imatge" ma:readOnly="false" ma:fieldId="{5cf76f15-5ced-4ddc-b409-7134ff3c332f}" ma:taxonomyMulti="true" ma:sspId="d19f90c4-00d9-45b7-bc62-04f95cbe7a8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07a89e8-4733-4b5d-8b8a-f94b86cdb07b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Compartit amb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'ha compartit amb detal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c299a8cb-a80f-415f-b570-9da181f90f8e}" ma:internalName="TaxCatchAll" ma:showField="CatchAllData" ma:web="c07a89e8-4733-4b5d-8b8a-f94b86cdb07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us de contingut"/>
        <xsd:element ref="dc:title" minOccurs="0" maxOccurs="1" ma:index="4" ma:displayName="Títo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ef81f19-cf85-4969-882d-e6a4ea0150e1">
      <Terms xmlns="http://schemas.microsoft.com/office/infopath/2007/PartnerControls"/>
    </lcf76f155ced4ddcb4097134ff3c332f>
    <TaxCatchAll xmlns="c07a89e8-4733-4b5d-8b8a-f94b86cdb07b" xsi:nil="true"/>
  </documentManagement>
</p:properties>
</file>

<file path=customXml/itemProps1.xml><?xml version="1.0" encoding="utf-8"?>
<ds:datastoreItem xmlns:ds="http://schemas.openxmlformats.org/officeDocument/2006/customXml" ds:itemID="{2131CC11-958D-46C8-B071-722160E7FB6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ef81f19-cf85-4969-882d-e6a4ea0150e1"/>
    <ds:schemaRef ds:uri="c07a89e8-4733-4b5d-8b8a-f94b86cdb07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A98E53F-EA66-4BB5-BDE0-D624BB57D1F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EDD6BAD-FC0F-4516-A3FC-A1E6EEA3F464}">
  <ds:schemaRefs>
    <ds:schemaRef ds:uri="c07a89e8-4733-4b5d-8b8a-f94b86cdb07b"/>
    <ds:schemaRef ds:uri="http://schemas.openxmlformats.org/package/2006/metadata/core-properties"/>
    <ds:schemaRef ds:uri="http://purl.org/dc/terms/"/>
    <ds:schemaRef ds:uri="1ef81f19-cf85-4969-882d-e6a4ea0150e1"/>
    <ds:schemaRef ds:uri="http://schemas.microsoft.com/office/infopath/2007/PartnerControl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431</TotalTime>
  <Words>365</Words>
  <Application>Microsoft Office PowerPoint</Application>
  <PresentationFormat>A4 Paper (210x297 mm)</PresentationFormat>
  <Paragraphs>63</Paragraphs>
  <Slides>8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9" baseType="lpstr">
      <vt:lpstr>201705_Diagnòstic i pla d'acció_v02</vt:lpstr>
      <vt:lpstr>Avaluació de preparació  Agile &lt;nom de la solució&gt;</vt:lpstr>
      <vt:lpstr>Índex</vt:lpstr>
      <vt:lpstr>1. Introducció Avaluació de preparació Agile</vt:lpstr>
      <vt:lpstr>2. Anàlisi de la solució Avaluació per àrees</vt:lpstr>
      <vt:lpstr>2. Anàlisi de la solució Avaluació per àrees</vt:lpstr>
      <vt:lpstr>3. Conclusions Resultat de l’avaluació</vt:lpstr>
      <vt:lpstr>3. Annex Checklist d'avaluació</vt:lpstr>
      <vt:lpstr>PowerPoint Presentation</vt:lpstr>
    </vt:vector>
  </TitlesOfParts>
  <Company>everi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senvolupament de processos CTTI 20xx</dc:title>
  <dc:creator>OQUAL</dc:creator>
  <cp:lastModifiedBy>Guillem Pallarés Barberá</cp:lastModifiedBy>
  <cp:revision>1898</cp:revision>
  <cp:lastPrinted>2017-06-09T11:28:15Z</cp:lastPrinted>
  <dcterms:created xsi:type="dcterms:W3CDTF">2017-05-26T09:07:42Z</dcterms:created>
  <dcterms:modified xsi:type="dcterms:W3CDTF">2023-08-10T06:31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81D76E832727C4896DCD041F45075EB</vt:lpwstr>
  </property>
  <property fmtid="{D5CDD505-2E9C-101B-9397-08002B2CF9AE}" pid="3" name="MediaServiceImageTags">
    <vt:lpwstr/>
  </property>
</Properties>
</file>